
<file path=[Content_Types].xml><?xml version="1.0" encoding="utf-8"?>
<Types xmlns="http://schemas.openxmlformats.org/package/2006/content-types">
  <Default Extension="bin" ContentType="application/vnd.openxmlformats-officedocument.oleObject"/>
  <Default Extension="dat" ContentType="image/jpeg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3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4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5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7.xml" ContentType="application/vnd.openxmlformats-officedocument.presentationml.notesSlide+xml"/>
  <Override PartName="/ppt/theme/themeOverride2.xml" ContentType="application/vnd.openxmlformats-officedocument.themeOverr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1"/>
  </p:notesMasterIdLst>
  <p:sldIdLst>
    <p:sldId id="2147374969" r:id="rId3"/>
    <p:sldId id="259" r:id="rId4"/>
    <p:sldId id="260" r:id="rId5"/>
    <p:sldId id="262" r:id="rId6"/>
    <p:sldId id="264" r:id="rId7"/>
    <p:sldId id="2147374971" r:id="rId8"/>
    <p:sldId id="2147374972" r:id="rId9"/>
    <p:sldId id="2147374970" r:id="rId10"/>
  </p:sldIdLst>
  <p:sldSz cx="12192000" cy="6858000"/>
  <p:notesSz cx="6858000" cy="9144000"/>
  <p:custDataLst>
    <p:tags r:id="rId12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emí Ruiz Sosa" initials="NRS" lastIdx="5" clrIdx="0">
    <p:extLst>
      <p:ext uri="{19B8F6BF-5375-455C-9EA6-DF929625EA0E}">
        <p15:presenceInfo xmlns:p15="http://schemas.microsoft.com/office/powerpoint/2012/main" userId="S::noemi.ruiz@eurecat.org::abba4416-d150-4268-ba5b-cdc6c13807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D4D8"/>
    <a:srgbClr val="F3F2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0" d="100"/>
          <a:sy n="80" d="100"/>
        </p:scale>
        <p:origin x="1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986855759252855E-2"/>
          <c:y val="7.3239436619718309E-2"/>
          <c:w val="0.9640262884814943"/>
          <c:h val="0.85352112676056335"/>
        </c:manualLayout>
      </c:layout>
      <c:scatterChart>
        <c:scatterStyle val="lineMarker"/>
        <c:varyColors val="0"/>
        <c:ser>
          <c:idx val="0"/>
          <c:order val="0"/>
          <c:spPr>
            <a:ln w="2540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2:$O$2</c:f>
              <c:numCache>
                <c:formatCode>General</c:formatCode>
                <c:ptCount val="15"/>
                <c:pt idx="0">
                  <c:v>4.0999999999999996</c:v>
                </c:pt>
                <c:pt idx="1">
                  <c:v>5.3</c:v>
                </c:pt>
                <c:pt idx="2">
                  <c:v>3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681-4A79-87CE-AFB088B0C4ED}"/>
            </c:ext>
          </c:extLst>
        </c:ser>
        <c:ser>
          <c:idx val="1"/>
          <c:order val="1"/>
          <c:spPr>
            <a:ln w="2540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3:$O$3</c:f>
              <c:numCache>
                <c:formatCode>General</c:formatCode>
                <c:ptCount val="15"/>
                <c:pt idx="0">
                  <c:v>56</c:v>
                </c:pt>
                <c:pt idx="1">
                  <c:v>55</c:v>
                </c:pt>
                <c:pt idx="2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681-4A79-87CE-AFB088B0C4ED}"/>
            </c:ext>
          </c:extLst>
        </c:ser>
        <c:ser>
          <c:idx val="2"/>
          <c:order val="2"/>
          <c:spPr>
            <a:ln w="2540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4:$O$4</c:f>
              <c:numCache>
                <c:formatCode>General</c:formatCode>
                <c:ptCount val="15"/>
                <c:pt idx="0">
                  <c:v>45</c:v>
                </c:pt>
                <c:pt idx="1">
                  <c:v>48</c:v>
                </c:pt>
                <c:pt idx="2">
                  <c:v>4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681-4A79-87CE-AFB088B0C4ED}"/>
            </c:ext>
          </c:extLst>
        </c:ser>
        <c:ser>
          <c:idx val="3"/>
          <c:order val="3"/>
          <c:spPr>
            <a:ln w="2540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5:$O$5</c:f>
              <c:numCache>
                <c:formatCode>General</c:formatCode>
                <c:ptCount val="15"/>
                <c:pt idx="0">
                  <c:v>60</c:v>
                </c:pt>
                <c:pt idx="1">
                  <c:v>65</c:v>
                </c:pt>
                <c:pt idx="2">
                  <c:v>67</c:v>
                </c:pt>
                <c:pt idx="3">
                  <c:v>64</c:v>
                </c:pt>
                <c:pt idx="4">
                  <c:v>63</c:v>
                </c:pt>
                <c:pt idx="5">
                  <c:v>6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5681-4A79-87CE-AFB088B0C4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0264816"/>
        <c:axId val="1"/>
      </c:scatterChart>
      <c:valAx>
        <c:axId val="50264816"/>
        <c:scaling>
          <c:orientation val="minMax"/>
          <c:max val="18840"/>
          <c:min val="1841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50264816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79F0B700-D1B3-4AEA-A2D0-15358D116048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D16F3A02-4866-46CB-9680-AFF2C1218ED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999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November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336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380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9965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9762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312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2767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7612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November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912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tags" Target="../tags/tag63.xml"/><Relationship Id="rId11" Type="http://schemas.openxmlformats.org/officeDocument/2006/relationships/image" Target="../media/image3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58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258FF4-5927-4600-AAC4-574E730F39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953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13D9B575-7489-44A5-934B-7B997B5D4E0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9BFF524-7BDC-424C-80C7-FA47AFFBDF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Haga clic para modificar el estilo de subtítulo del patrón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16A1B4A-5C7A-4588-A344-F666CF081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AA5CC69-86DA-4671-94B0-FA650308FB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2AF98CE-A683-472E-B588-2225E7154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066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A74C48B-FAE4-4873-9934-3529048CB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0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792DBFD-8D1F-4584-92EE-572418E95D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3BFDB9C-3BAD-4027-9EED-F6E1AF87062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DF574F2-0A1C-4838-83DD-D4DB5F962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B222099-AC96-4940-8FBC-47195C3F2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1D29364-8EF2-42C9-8D7B-CD4C717A5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546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99E91E-6A0E-4CAC-B8F7-D43ADAB65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903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5C7E9AF-EC32-472A-9776-FB322C8286A8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9F9ED16-DC0B-4ACF-B3C6-06908DEE35F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708CCDD-2700-4341-A2A9-67755A050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B4F393F-1C72-4283-B058-0D7724959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201540B-A89F-4862-9369-3CEFC974F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362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B8D023D-AB3D-42E6-BB28-047250F6A0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876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BAB6117-C11D-43DC-BFB1-8FE66D834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1AD80C65-C383-4C7D-A8CD-C960BB3165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0D12E34-F277-409D-BB54-8E17F0B1F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763A47B-C047-49D7-B9AB-D89AC8F3C8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9680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C785BF-633C-4A46-BF90-ADFFB0F7F3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398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C785BF-633C-4A46-BF90-ADFFB0F7F3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6B03FD-3A88-5D44-85C8-E768CB1DB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32F549-BBCE-EF4F-9511-D618F194F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BF680-827D-CC4A-8DCC-656EE086D2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433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E55704E-0E6E-48CC-8C39-FE5C751554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010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E55704E-0E6E-48CC-8C39-FE5C75155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C5CE7-5CC2-8641-95FC-A8C1863D99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524000"/>
            <a:ext cx="10972800" cy="4572000"/>
          </a:xfrm>
        </p:spPr>
        <p:txBody>
          <a:bodyPr/>
          <a:lstStyle>
            <a:lvl1pPr marL="0" indent="0" rtl="0">
              <a:buNone/>
              <a:defRPr>
                <a:latin typeface="+mn-lt"/>
              </a:defRPr>
            </a:lvl1pPr>
            <a:lvl2pPr rtl="0">
              <a:defRPr sz="1867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  <a:p>
            <a:pPr lvl="5"/>
            <a:r>
              <a:rPr lang="en-US" dirty="0"/>
              <a:t>Sixth level </a:t>
            </a:r>
          </a:p>
          <a:p>
            <a:pPr lvl="6"/>
            <a:r>
              <a:rPr lang="en-US" dirty="0"/>
              <a:t>Seventh level </a:t>
            </a:r>
          </a:p>
          <a:p>
            <a:pPr lvl="7"/>
            <a:r>
              <a:rPr lang="en-US" dirty="0"/>
              <a:t>Eighth level </a:t>
            </a:r>
          </a:p>
          <a:p>
            <a:pPr lvl="1"/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34B382-E267-5E42-A102-AA4C01C925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53A5CE-CC56-3D4A-BDAE-3492B616158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6D1DB1-C1CC-BD45-B461-0B638A0285F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0662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E6F43A-05A0-4B35-A4F5-098CC2390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108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E6F43A-05A0-4B35-A4F5-098CC2390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524000"/>
            <a:ext cx="10972800" cy="4572000"/>
          </a:xfrm>
          <a:prstGeom prst="rect">
            <a:avLst/>
          </a:prstGeom>
        </p:spPr>
        <p:txBody>
          <a:bodyPr anchor="t"/>
          <a:lstStyle>
            <a:lvl1pPr marL="0" indent="0" rtl="0">
              <a:lnSpc>
                <a:spcPct val="150000"/>
              </a:lnSpc>
              <a:buNone/>
              <a:defRPr sz="1867" b="0">
                <a:solidFill>
                  <a:schemeClr val="tx1"/>
                </a:solidFill>
              </a:defRPr>
            </a:lvl1pPr>
          </a:lstStyle>
          <a:p>
            <a:r>
              <a:rPr lang="en-US" sz="1867" dirty="0">
                <a:solidFill>
                  <a:schemeClr val="accent1"/>
                </a:solidFill>
              </a:rPr>
              <a:t>01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</a:t>
            </a:r>
            <a:r>
              <a:rPr lang="en-US" sz="1867" b="1" dirty="0">
                <a:solidFill>
                  <a:schemeClr val="accent1"/>
                </a:solidFill>
              </a:rPr>
              <a:t>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2 |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3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</a:t>
            </a:r>
            <a:r>
              <a:rPr lang="en-US" sz="1867" b="1" dirty="0">
                <a:solidFill>
                  <a:schemeClr val="accent1"/>
                </a:solidFill>
              </a:rPr>
              <a:t>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4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</a:t>
            </a:r>
            <a:r>
              <a:rPr lang="en-US" sz="1867" b="1" dirty="0">
                <a:solidFill>
                  <a:schemeClr val="accent1"/>
                </a:solidFill>
              </a:rPr>
              <a:t>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5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 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D1D40-493C-3649-AFE5-E0757A3DC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994A2E-1B23-F94E-AF06-B90A22406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7699F2-0280-FD47-BE85-183D0F4EEED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187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eak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B5359E9-1412-466C-91AD-0E8D54B776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53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B5359E9-1412-466C-91AD-0E8D54B776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3728720" y="2159000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6807200" y="2159000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B85BD6-1A03-1946-9B62-D5C7E43C47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0984" y="3963357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1169706-2771-1342-BC54-D83D997E21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79464" y="3963357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EA140E-C3B9-7249-8B71-09A343E86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C8F481-DE3C-8C4B-B81A-12BD218571F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172D9-C10D-224D-99BD-8F93F001451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6102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B36D69-6A75-4841-9E57-18AE80C3F0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550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B36D69-6A75-4841-9E57-18AE80C3F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5279136" y="2114005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8357616" y="2147811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B85BD6-1A03-1946-9B62-D5C7E43C47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1400" y="3959625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1169706-2771-1342-BC54-D83D997E21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29880" y="3959625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EA140E-C3B9-7249-8B71-09A343E86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C8F481-DE3C-8C4B-B81A-12BD218571F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172D9-C10D-224D-99BD-8F93F001451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56D570B6-EDA8-D549-8E95-F9AE4E934A0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206752" y="2147811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E564787-CBDB-A747-8277-DB5B8577BE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9016" y="3997163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</p:spTree>
    <p:extLst>
      <p:ext uri="{BB962C8B-B14F-4D97-AF65-F5344CB8AC3E}">
        <p14:creationId xmlns:p14="http://schemas.microsoft.com/office/powerpoint/2010/main" val="8848195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CE3630-169D-48B8-807E-5F535D5499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0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CE3630-169D-48B8-807E-5F535D549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524000"/>
            <a:ext cx="10972800" cy="4572000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5473DB-1F75-834F-927D-ADB5216B2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21156B-AB5C-174C-BC03-6DE6385078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A76A7-610A-284F-8CBA-26689485FF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5861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8A3D8C-4EBE-49D0-AE11-ABC1E34051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4840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8A3D8C-4EBE-49D0-AE11-ABC1E3405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828800"/>
            <a:ext cx="10972800" cy="3048000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lnSpc>
                <a:spcPct val="100000"/>
              </a:lnSpc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B700919-2443-744C-B5A2-02695A5E54E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423E85-AE4F-9A4A-9A32-BC2475460C7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6264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F39FF88-AA74-4297-BD3C-57C0B13A1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781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471AACD-E47F-4EFC-A99C-B08148F8A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D07DCCB-7B43-4306-8AD1-A2DD96C2946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0C618F1-5732-49C4-9C79-68A4EAE8A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2CBF0BC-2CC5-4B3F-A535-33E951D45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CA54869-479A-4C77-AEE3-9CBEC89CF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255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KE A STAT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316BBA-DDB0-454A-94D1-1E049F12E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05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316BBA-DDB0-454A-94D1-1E049F12E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55239" y="2095150"/>
            <a:ext cx="6327161" cy="2667701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D6957-8385-BA41-AC67-96E9BF1EE2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2095150"/>
            <a:ext cx="4267200" cy="2667701"/>
          </a:xfrm>
        </p:spPr>
        <p:txBody>
          <a:bodyPr anchor="ctr"/>
          <a:lstStyle>
            <a:lvl1pPr rtl="0">
              <a:defRPr sz="5334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F57F6-3EB7-3F47-82FE-E4C95FB2168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E93802-628D-014A-8342-91C92F75B63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6961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21D1AC-38E2-44CC-98F1-A91FC12A61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0863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21D1AC-38E2-44CC-98F1-A91FC12A61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6AA191-D5FF-F74D-A50A-73A7CC11C8D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4540F1-D8A0-FF46-B1EA-4E900B8607C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6F82DE-D60B-DC4F-BF67-13C1749FD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4000"/>
            <a:ext cx="5181600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D2A7B6D-F215-164B-AB00-58091BC043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4356" y="1524000"/>
            <a:ext cx="5178044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202D9A-4AE7-D24A-B935-D891CC9DA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40029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(three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0A436F-CC82-498A-9AAD-87C7C1C441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800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0A436F-CC82-498A-9AAD-87C7C1C441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821F0-CD54-1445-8DDB-ACC764D55D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B6A206-F521-BF45-9311-E95E6E8C51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8DC3CF-062F-6D4A-B068-360B58638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524000"/>
            <a:ext cx="3048000" cy="45720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088EC3E-2BC0-6F4F-99A5-C254D1B501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34400" y="1524000"/>
            <a:ext cx="3048000" cy="45720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E93646-16B9-0F4C-9B07-2AE355DE9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93CA37B-759A-264A-954C-81B341DC92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3778" y="1523999"/>
            <a:ext cx="3048000" cy="45720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76193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(six bloc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A6409C-47E3-4E9F-940B-981175EF6E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2069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A6409C-47E3-4E9F-940B-981175EF6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821F0-CD54-1445-8DDB-ACC764D55D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B6A206-F521-BF45-9311-E95E6E8C51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8DC3CF-062F-6D4A-B068-360B58638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524000"/>
            <a:ext cx="3048000" cy="170078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088EC3E-2BC0-6F4F-99A5-C254D1B501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34400" y="1524000"/>
            <a:ext cx="3048000" cy="17018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3C30871-9CE5-704E-918A-539E74CBFF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0" y="1540468"/>
            <a:ext cx="3048000" cy="17018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092D13B-F05B-DB46-9F08-B097B3E090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3894435"/>
            <a:ext cx="3048000" cy="17018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F2ECC7E-EB13-D640-8266-A7D8A5D4A5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0" y="3892741"/>
            <a:ext cx="3048000" cy="17018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22C77D9-380D-3D40-88C7-383D26FB95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34400" y="3892741"/>
            <a:ext cx="3048000" cy="17018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E279D-A6D5-BF4C-8881-FB4D65FFD6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00057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3975520-18FA-4FA4-8554-8732F6933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894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3975520-18FA-4FA4-8554-8732F6933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7E0ACF-6143-D14D-86C2-51822807CE7D}"/>
              </a:ext>
            </a:extLst>
          </p:cNvPr>
          <p:cNvCxnSpPr/>
          <p:nvPr/>
        </p:nvCxnSpPr>
        <p:spPr>
          <a:xfrm>
            <a:off x="1921935" y="4864432"/>
            <a:ext cx="0" cy="10104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EE84E72-6BCF-2C46-B999-9A22E52A42A1}"/>
              </a:ext>
            </a:extLst>
          </p:cNvPr>
          <p:cNvCxnSpPr/>
          <p:nvPr/>
        </p:nvCxnSpPr>
        <p:spPr>
          <a:xfrm>
            <a:off x="1918367" y="3189648"/>
            <a:ext cx="0" cy="10104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E69F91-1C2B-2B40-BBC7-62B4E4AA0B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" y="1536805"/>
            <a:ext cx="1168401" cy="1010469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3194216"/>
            <a:ext cx="1168401" cy="1010469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E2008D3C-3301-F544-B898-B5FBF3B5B3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" y="4864432"/>
            <a:ext cx="1168401" cy="1010469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5161" y="3198661"/>
            <a:ext cx="9327239" cy="101070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5931466-2AC7-4345-A7BD-A09CAB4402C6}"/>
              </a:ext>
            </a:extLst>
          </p:cNvPr>
          <p:cNvCxnSpPr/>
          <p:nvPr userDrawn="1"/>
        </p:nvCxnSpPr>
        <p:spPr>
          <a:xfrm>
            <a:off x="1930400" y="1536805"/>
            <a:ext cx="0" cy="10104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F2D01EC0-CF3D-884D-955B-D769EC9BE7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63808" y="1536805"/>
            <a:ext cx="9318593" cy="101070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C29B03AD-D8C3-264C-A8DF-4C1A85127B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53173" y="4879433"/>
            <a:ext cx="9329227" cy="101070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2F2E63-1B3B-CE42-A0B2-DCC9F229E81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C12C2-93C3-0842-B8EB-3C2C30078B7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6233335-B7F9-384B-9453-CE82C9BDC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423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4C297F-0454-46E5-B56D-A9FD50CDDF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51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4C297F-0454-46E5-B56D-A9FD50CDDF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2770265"/>
            <a:ext cx="1645561" cy="1423132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0801" y="2770265"/>
            <a:ext cx="8991599" cy="1423132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6071BCB-A2E7-5547-81E6-C445ADF0546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263527-8F06-2A46-8880-B40F067DECB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5262ABD-8F75-1C4F-A2F1-BC8E46DC2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95322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78809E-CF9E-4A8E-83EE-2D1158575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7109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78809E-CF9E-4A8E-83EE-2D1158575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26641" y="1935729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26641" y="3301339"/>
            <a:ext cx="3576496" cy="190566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1"/>
            <a:endParaRPr lang="en-US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31104" y="1935729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4E25944-4393-8543-AE8A-E5D9AF1323DF}"/>
              </a:ext>
            </a:extLst>
          </p:cNvPr>
          <p:cNvCxnSpPr>
            <a:cxnSpLocks/>
          </p:cNvCxnSpPr>
          <p:nvPr userDrawn="1"/>
        </p:nvCxnSpPr>
        <p:spPr>
          <a:xfrm>
            <a:off x="5740400" y="2055230"/>
            <a:ext cx="0" cy="315177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CE7E8E85-19A6-BB4F-94D3-8658C0617C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31104" y="3301339"/>
            <a:ext cx="3576496" cy="190566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E95E8C-2A98-CC4D-A3F1-FC3C33727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089A2C-1DA2-4847-B1E4-A85645BA45A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24378D-8474-5E4A-9E3A-E7C27253A0B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3996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E9A64E-AED6-4BEF-8644-950266C69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0531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E9A64E-AED6-4BEF-8644-950266C69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13" y="3486789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06621" y="213392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6B34F5E-0220-E146-B13E-A1B31EEC62EA}"/>
              </a:ext>
            </a:extLst>
          </p:cNvPr>
          <p:cNvCxnSpPr/>
          <p:nvPr userDrawn="1"/>
        </p:nvCxnSpPr>
        <p:spPr>
          <a:xfrm>
            <a:off x="4267200" y="2583603"/>
            <a:ext cx="0" cy="2180578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F6F3059-5932-9748-B827-FFD1E51E05EE}"/>
              </a:ext>
            </a:extLst>
          </p:cNvPr>
          <p:cNvCxnSpPr/>
          <p:nvPr userDrawn="1"/>
        </p:nvCxnSpPr>
        <p:spPr>
          <a:xfrm>
            <a:off x="7975600" y="2583603"/>
            <a:ext cx="0" cy="2180578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7">
            <a:extLst>
              <a:ext uri="{FF2B5EF4-FFF2-40B4-BE49-F238E27FC236}">
                <a16:creationId xmlns:a16="http://schemas.microsoft.com/office/drawing/2014/main" id="{203923EF-F6FC-6D49-81C9-69B119D895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29300" y="3486789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61687008-83E4-FF44-8294-812BBEB14F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05949" y="3486789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729971" y="213392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8DE8E23-BA0F-5448-8D1C-9F6A46562D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83270" y="213392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03EF7-2D81-2C48-BE7E-3819F81F3BB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E0804A-E152-4D45-91B9-FD97DE57B99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8887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DDCB5A-C2A8-40C5-8BC5-F1FCC46C9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00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DDCB5A-C2A8-40C5-8BC5-F1FCC46C9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0055" y="3725002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52521" y="190500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6" name="Text Placeholder 27">
            <a:extLst>
              <a:ext uri="{FF2B5EF4-FFF2-40B4-BE49-F238E27FC236}">
                <a16:creationId xmlns:a16="http://schemas.microsoft.com/office/drawing/2014/main" id="{203923EF-F6FC-6D49-81C9-69B119D895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9505" y="3725002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61687008-83E4-FF44-8294-812BBEB14F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80764" y="3725002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227377" y="1909132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8DE8E23-BA0F-5448-8D1C-9F6A46562D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677665" y="190500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AD2D191-EDA7-1A4F-BC1F-B289335EAF29}"/>
              </a:ext>
            </a:extLst>
          </p:cNvPr>
          <p:cNvGrpSpPr/>
          <p:nvPr userDrawn="1"/>
        </p:nvGrpSpPr>
        <p:grpSpPr>
          <a:xfrm>
            <a:off x="2764355" y="3234711"/>
            <a:ext cx="6743700" cy="304800"/>
            <a:chOff x="4086225" y="4271760"/>
            <a:chExt cx="10115550" cy="4572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689CA033-C14E-E046-82ED-9B1ABA20139E}"/>
                </a:ext>
              </a:extLst>
            </p:cNvPr>
            <p:cNvSpPr/>
            <p:nvPr/>
          </p:nvSpPr>
          <p:spPr>
            <a:xfrm>
              <a:off x="8915400" y="4271760"/>
              <a:ext cx="457200" cy="457200"/>
            </a:xfrm>
            <a:prstGeom prst="ellipse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867" dirty="0">
                <a:solidFill>
                  <a:schemeClr val="bg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7B7F9A3-1104-1A40-86E7-FF058DF8E1A2}"/>
                </a:ext>
              </a:extLst>
            </p:cNvPr>
            <p:cNvSpPr/>
            <p:nvPr/>
          </p:nvSpPr>
          <p:spPr>
            <a:xfrm>
              <a:off x="4086225" y="4271760"/>
              <a:ext cx="457200" cy="457200"/>
            </a:xfrm>
            <a:prstGeom prst="ellipse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867" dirty="0">
                <a:solidFill>
                  <a:schemeClr val="bg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7585444-8DF9-C94E-986A-9F23A1EDF10C}"/>
                </a:ext>
              </a:extLst>
            </p:cNvPr>
            <p:cNvSpPr/>
            <p:nvPr/>
          </p:nvSpPr>
          <p:spPr>
            <a:xfrm>
              <a:off x="13744575" y="4271760"/>
              <a:ext cx="457200" cy="457200"/>
            </a:xfrm>
            <a:prstGeom prst="ellipse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867" dirty="0">
                <a:solidFill>
                  <a:schemeClr val="bg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DAF98BE-1566-3D4E-AFAD-AE93499F8DC1}"/>
                </a:ext>
              </a:extLst>
            </p:cNvPr>
            <p:cNvCxnSpPr>
              <a:stCxn id="18" idx="6"/>
              <a:endCxn id="17" idx="2"/>
            </p:cNvCxnSpPr>
            <p:nvPr/>
          </p:nvCxnSpPr>
          <p:spPr>
            <a:xfrm>
              <a:off x="4543425" y="4500360"/>
              <a:ext cx="4371975" cy="0"/>
            </a:xfrm>
            <a:prstGeom prst="line">
              <a:avLst/>
            </a:prstGeom>
            <a:ln w="25400" cap="sq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1AE7B15-F414-2144-A795-2AB5872CC2C5}"/>
                </a:ext>
              </a:extLst>
            </p:cNvPr>
            <p:cNvCxnSpPr>
              <a:stCxn id="17" idx="6"/>
              <a:endCxn id="19" idx="2"/>
            </p:cNvCxnSpPr>
            <p:nvPr/>
          </p:nvCxnSpPr>
          <p:spPr>
            <a:xfrm>
              <a:off x="9372600" y="4500360"/>
              <a:ext cx="4371975" cy="0"/>
            </a:xfrm>
            <a:prstGeom prst="line">
              <a:avLst/>
            </a:prstGeom>
            <a:ln w="25400" cap="sq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D8D2BA7-B1F7-D941-865F-9AF395866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260B5C-BCEC-7445-9A4A-AEDCB8B69A6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D005D8-C143-F541-A580-2FEC5454D91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5154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E08E252-EA8C-4A09-B812-6D4E107B5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61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E08E252-EA8C-4A09-B812-6D4E107B5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55239" y="2095150"/>
            <a:ext cx="6327161" cy="2667701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00000"/>
              </a:lnSpc>
              <a:buNone/>
              <a:defRPr sz="4800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D6957-8385-BA41-AC67-96E9BF1EE2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095150"/>
            <a:ext cx="4267200" cy="2667701"/>
          </a:xfrm>
        </p:spPr>
        <p:txBody>
          <a:bodyPr anchor="ctr"/>
          <a:lstStyle>
            <a:lvl1pPr algn="ctr" rtl="0">
              <a:defRPr sz="11067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E711F14-B5B2-3041-8B5C-B27630BF80C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76ABBC-3139-584D-9469-11ECCE91FFB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9DB4DE-FDE9-EE44-862E-5A9C3603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539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D610BB5-14A3-4D16-8123-662062410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099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C7BC47C-DBAE-4EAB-A8F4-9619F9B14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225BF72-888B-46D3-B445-14D8D93D643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2D918AE-D624-4696-913D-C3049D8E1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D8D9F2C-0C17-4918-9ECC-361B12A16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0EDE98C-7DBF-48B4-8D54-EDD977165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0010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3EE0349-E590-424A-9FBA-29B5F4776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372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3EE0349-E590-424A-9FBA-29B5F4776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0800" y="1841500"/>
            <a:ext cx="6451600" cy="11684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00000"/>
              </a:lnSpc>
              <a:buNone/>
              <a:defRPr sz="2933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D6957-8385-BA41-AC67-96E9BF1EE2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41500"/>
            <a:ext cx="3708400" cy="1168400"/>
          </a:xfrm>
        </p:spPr>
        <p:txBody>
          <a:bodyPr anchor="ctr"/>
          <a:lstStyle>
            <a:lvl1pPr algn="r" rtl="0">
              <a:defRPr sz="6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3969DCB-4232-0143-8615-239FE22DC0C8}"/>
              </a:ext>
            </a:extLst>
          </p:cNvPr>
          <p:cNvCxnSpPr/>
          <p:nvPr userDrawn="1"/>
        </p:nvCxnSpPr>
        <p:spPr>
          <a:xfrm>
            <a:off x="4673600" y="3848100"/>
            <a:ext cx="0" cy="116840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034FFC-B08A-4749-B12F-394D3C4CCEBB}"/>
              </a:ext>
            </a:extLst>
          </p:cNvPr>
          <p:cNvCxnSpPr/>
          <p:nvPr userDrawn="1"/>
        </p:nvCxnSpPr>
        <p:spPr>
          <a:xfrm>
            <a:off x="4673600" y="1841500"/>
            <a:ext cx="0" cy="116840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8D2998-A776-3D49-80B7-2C974A4F86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3849928"/>
            <a:ext cx="3708400" cy="1168400"/>
          </a:xfrm>
        </p:spPr>
        <p:txBody>
          <a:bodyPr anchor="ctr"/>
          <a:lstStyle>
            <a:lvl1pPr algn="r" rtl="0">
              <a:defRPr sz="6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BE14881-CE3B-A941-B45C-92918736AA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0800" y="3848100"/>
            <a:ext cx="6451600" cy="11684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00000"/>
              </a:lnSpc>
              <a:buNone/>
              <a:defRPr sz="2933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C9B38-5D16-7C4F-88BA-4FF50AEA25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8D8E51-1272-D34C-A0D9-007837EBA8A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FD9856-48AF-CA47-A18C-EB7A6D42A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20071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CHAR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956DC52-A19A-4695-B7FA-1A80FF705D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49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956DC52-A19A-4695-B7FA-1A80FF705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0884" y="1898164"/>
            <a:ext cx="6321516" cy="35560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081686-9B4E-2F4F-8D10-69023E75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Chart Placeholder 19">
            <a:extLst>
              <a:ext uri="{FF2B5EF4-FFF2-40B4-BE49-F238E27FC236}">
                <a16:creationId xmlns:a16="http://schemas.microsoft.com/office/drawing/2014/main" id="{DB6197CF-C3DD-594E-BB1B-7B07D7495D0C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09600" y="1898164"/>
            <a:ext cx="4114800" cy="3556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E19DD3-FF95-2D4C-8DD2-452EFE74ACA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EC92AC-3BB2-0643-954A-0D62DA3CAFB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711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CHART FOU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CE4B81-9172-4FF8-A441-10819407B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838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CE4B81-9172-4FF8-A441-10819407B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081686-9B4E-2F4F-8D10-69023E75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" name="Text Placeholder 27">
            <a:extLst>
              <a:ext uri="{FF2B5EF4-FFF2-40B4-BE49-F238E27FC236}">
                <a16:creationId xmlns:a16="http://schemas.microsoft.com/office/drawing/2014/main" id="{B3168FB4-4C17-9E48-A067-381F505CFC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60544" y="1912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7" name="Text Placeholder 27">
            <a:extLst>
              <a:ext uri="{FF2B5EF4-FFF2-40B4-BE49-F238E27FC236}">
                <a16:creationId xmlns:a16="http://schemas.microsoft.com/office/drawing/2014/main" id="{6F9F0542-1195-264E-89B8-E164B58C5A5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0544" y="3944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B2F4BAC6-C8D5-E543-80C4-089186357B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96873" y="1912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9" name="Text Placeholder 27">
            <a:extLst>
              <a:ext uri="{FF2B5EF4-FFF2-40B4-BE49-F238E27FC236}">
                <a16:creationId xmlns:a16="http://schemas.microsoft.com/office/drawing/2014/main" id="{6D03709F-C398-0646-A61C-23669DD686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96873" y="3944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1" name="Chart Placeholder 39">
            <a:extLst>
              <a:ext uri="{FF2B5EF4-FFF2-40B4-BE49-F238E27FC236}">
                <a16:creationId xmlns:a16="http://schemas.microsoft.com/office/drawing/2014/main" id="{37FD8234-26A8-B64E-B9F7-6E950095F728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299200" y="1910119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Chart Placeholder 39">
            <a:extLst>
              <a:ext uri="{FF2B5EF4-FFF2-40B4-BE49-F238E27FC236}">
                <a16:creationId xmlns:a16="http://schemas.microsoft.com/office/drawing/2014/main" id="{82573EE2-7E5D-6848-9B84-3BBB1016ACFB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6299200" y="3944714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43" name="Chart Placeholder 39">
            <a:extLst>
              <a:ext uri="{FF2B5EF4-FFF2-40B4-BE49-F238E27FC236}">
                <a16:creationId xmlns:a16="http://schemas.microsoft.com/office/drawing/2014/main" id="{C4F2232A-0FD0-F541-B229-744A8344FD0B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04196" y="3942120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Chart Placeholder 39">
            <a:extLst>
              <a:ext uri="{FF2B5EF4-FFF2-40B4-BE49-F238E27FC236}">
                <a16:creationId xmlns:a16="http://schemas.microsoft.com/office/drawing/2014/main" id="{EE41E718-1070-B34A-82FC-ECB080E3CE82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604196" y="1910119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0D5C33-2B02-0D4E-882C-3D745762EE7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BAEA5-84D2-3448-BDB9-DD6228892D2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258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ATA CHART FOU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0061742-5DF8-4BD1-B051-7031B66384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935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0061742-5DF8-4BD1-B051-7031B66384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081686-9B4E-2F4F-8D10-69023E75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" name="Text Placeholder 27">
            <a:extLst>
              <a:ext uri="{FF2B5EF4-FFF2-40B4-BE49-F238E27FC236}">
                <a16:creationId xmlns:a16="http://schemas.microsoft.com/office/drawing/2014/main" id="{B3168FB4-4C17-9E48-A067-381F505CFC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485" y="4093313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3" name="Chart Placeholder 39">
            <a:extLst>
              <a:ext uri="{FF2B5EF4-FFF2-40B4-BE49-F238E27FC236}">
                <a16:creationId xmlns:a16="http://schemas.microsoft.com/office/drawing/2014/main" id="{C4F2232A-0FD0-F541-B229-744A8344FD0B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09601" y="1554480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51" name="Text Placeholder 27">
            <a:extLst>
              <a:ext uri="{FF2B5EF4-FFF2-40B4-BE49-F238E27FC236}">
                <a16:creationId xmlns:a16="http://schemas.microsoft.com/office/drawing/2014/main" id="{46FDA947-73DB-7644-BCD3-7A4FF602A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7934" y="4106894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2" name="Text Placeholder 27">
            <a:extLst>
              <a:ext uri="{FF2B5EF4-FFF2-40B4-BE49-F238E27FC236}">
                <a16:creationId xmlns:a16="http://schemas.microsoft.com/office/drawing/2014/main" id="{EA28099A-641E-2C45-8167-DEB1C96EEB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0830" y="4106894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3" name="Text Placeholder 27">
            <a:extLst>
              <a:ext uri="{FF2B5EF4-FFF2-40B4-BE49-F238E27FC236}">
                <a16:creationId xmlns:a16="http://schemas.microsoft.com/office/drawing/2014/main" id="{05767FB1-259F-CD4C-8930-A32EC867572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00450" y="4093313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4" name="Chart Placeholder 39">
            <a:extLst>
              <a:ext uri="{FF2B5EF4-FFF2-40B4-BE49-F238E27FC236}">
                <a16:creationId xmlns:a16="http://schemas.microsoft.com/office/drawing/2014/main" id="{76AAADEF-685C-1A49-90B6-A1C9039486A8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35171" y="1537581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56" name="Chart Placeholder 39">
            <a:extLst>
              <a:ext uri="{FF2B5EF4-FFF2-40B4-BE49-F238E27FC236}">
                <a16:creationId xmlns:a16="http://schemas.microsoft.com/office/drawing/2014/main" id="{86D064D9-8D41-4E4B-A98D-E19109B08A4E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121737" y="1549616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57" name="Chart Placeholder 39">
            <a:extLst>
              <a:ext uri="{FF2B5EF4-FFF2-40B4-BE49-F238E27FC236}">
                <a16:creationId xmlns:a16="http://schemas.microsoft.com/office/drawing/2014/main" id="{6ACD5DE6-FB20-694D-A132-4450B8519169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6270831" y="1537581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7E54C8-3345-D64C-B43E-6495BF71CFB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28913D-505F-A143-B3D7-488C293423B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2905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76FE7E-4033-4BD4-B5AF-1089C4E0E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5495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76FE7E-4033-4BD4-B5AF-1089C4E0E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09600" y="1524000"/>
            <a:ext cx="5181600" cy="451104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C499347-2961-B042-8DFB-9FBFDED1D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33BDE5-BCBE-6442-A806-F42EB5B66B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E2D4EB-10DF-CC4E-8A61-AE5076FC11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0D427AA-A04C-0E4D-B280-C0A833942F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4356" y="1524000"/>
            <a:ext cx="5178044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45142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25F880-C5BB-4199-B9CD-B0462946E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284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25F880-C5BB-4199-B9CD-B0462946E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C499347-2961-B042-8DFB-9FBFDED1D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33BDE5-BCBE-6442-A806-F42EB5B66B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E2D4EB-10DF-CC4E-8A61-AE5076FC11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6FE2167D-CF80-2046-88F0-219004E1829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04356" y="1524000"/>
            <a:ext cx="5178044" cy="451104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374D6B0-3683-0F43-BCBE-FA68AC4627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4000"/>
            <a:ext cx="5181600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61092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37914B-3F7A-4B12-9BE1-D4DEC1042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973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37914B-3F7A-4B12-9BE1-D4DEC1042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267200" y="1600200"/>
            <a:ext cx="3657600" cy="36576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EE5500-97BA-F340-AE00-2B049A37C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7C7703-99EA-1244-8477-7AD25590011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D9C28-D0FA-8B4C-B78D-B97DF7C2D12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530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A40C014-8202-40E3-8B7C-3785301B1B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368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A40C014-8202-40E3-8B7C-3785301B1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19200" y="1737360"/>
            <a:ext cx="3657600" cy="36576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22DC01-1ED3-B444-96B4-AA2794D5F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4B3720-5238-964C-9417-627995674A5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8469DF-5BA8-1744-874C-2D7D5079556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77D3E52-D199-5444-A33D-1F486E2A31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38800" y="1524000"/>
            <a:ext cx="5943600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1875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0646F3-CC14-475B-BE27-74F3EDC17F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491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0646F3-CC14-475B-BE27-74F3EDC17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315200" y="1737360"/>
            <a:ext cx="3657600" cy="36576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5D38F9-F365-BF40-8DA4-C59D5DD744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9C31DC-0889-D943-8B44-6E6D44A51F0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0E2E05-8AD2-3E42-9E6D-68496FDE73D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B2396F3-F4EA-F24F-A3DB-BE0B13B1C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4000"/>
            <a:ext cx="6169152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3404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62EA23-920E-49CC-9B6E-4EB0D84859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225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62EA23-920E-49CC-9B6E-4EB0D8485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501809" y="1551432"/>
            <a:ext cx="1219200" cy="1219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501809" y="3186684"/>
            <a:ext cx="1219200" cy="1219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501809" y="4818888"/>
            <a:ext cx="1219200" cy="1219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13CB4A5-4179-1D4C-B72B-9CCC46090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6F0DE27-78DC-254C-B80F-851383F899D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FDEB9AC-3EA7-F543-A1E1-9C46B1D48BF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17F0B3F-D03E-5547-9D43-6CC633C077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08800" y="3174492"/>
            <a:ext cx="4673600" cy="12192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88A789E-6A21-A741-A73C-1A027B5E45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21770" y="1527048"/>
            <a:ext cx="4660630" cy="12192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396CA7F-67EC-4044-A142-E5C4663040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29120" y="4821936"/>
            <a:ext cx="4653280" cy="12192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F96F51-D3AE-6149-A969-9630B1832CD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530096"/>
            <a:ext cx="4682801" cy="1219200"/>
          </a:xfrm>
          <a:prstGeom prst="rect">
            <a:avLst/>
          </a:prstGeom>
        </p:spPr>
        <p:txBody>
          <a:bodyPr anchor="ctr"/>
          <a:lstStyle>
            <a:lvl1pPr marL="0" indent="0" algn="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7A4432F-40C2-2642-86A3-45D48B507C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" y="3174492"/>
            <a:ext cx="4682801" cy="1219200"/>
          </a:xfrm>
          <a:prstGeom prst="rect">
            <a:avLst/>
          </a:prstGeom>
        </p:spPr>
        <p:txBody>
          <a:bodyPr anchor="ctr"/>
          <a:lstStyle>
            <a:lvl1pPr marL="0" indent="0" algn="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9664E16-9452-3D4A-9E0B-44A0E3BC452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4818888"/>
            <a:ext cx="4682800" cy="1219200"/>
          </a:xfrm>
          <a:prstGeom prst="rect">
            <a:avLst/>
          </a:prstGeom>
        </p:spPr>
        <p:txBody>
          <a:bodyPr anchor="ctr"/>
          <a:lstStyle>
            <a:lvl1pPr marL="0" indent="0" algn="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929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3BD0EAB-9AB6-416E-A8B8-F78A8532F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0612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E047D59-AAA0-42C8-BDC3-F18ED18C91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3C4C272-C03B-4C36-BE19-E5D97BDB381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B591D2C-A471-4105-85DE-DD55B0FF4F3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CECE319-11D0-4766-B545-9122A68B9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FA6EF08-81F9-4F14-B41B-FAD0CA384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FCC6EA-B15B-45FD-A59C-84313C50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673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1F1D71-A609-4B01-9ABB-D837A25667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2890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1F1D71-A609-4B01-9ABB-D837A2566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705600" y="1652016"/>
            <a:ext cx="3657600" cy="36576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828800" y="1652016"/>
            <a:ext cx="3657600" cy="36576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BFED9F1-9987-2A44-A96F-67EECAA1B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F31774-D42C-094D-9DDA-AE4471A367C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C3D29E-751E-8845-965E-AB5C5F42763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138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B82E9C-B829-4AAA-9CF3-D2EBACED8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432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B82E9C-B829-4AAA-9CF3-D2EBACED8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914400" y="1549400"/>
            <a:ext cx="3048000" cy="30480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4575175" y="1549400"/>
            <a:ext cx="3048000" cy="30480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229600" y="1549400"/>
            <a:ext cx="3048000" cy="30480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981B27-F90B-E04C-A0D8-5455236E0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22DC8E-55F3-2D47-BA95-AD5FDB9630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FB9570-C392-AE4D-9560-84C8F7CAD3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4AC7B90C-F2F7-224D-8F8B-96465EE6CF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4902200"/>
            <a:ext cx="3048000" cy="1127149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ACB1FB31-F480-3642-8BED-42BAB9C029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3778" y="4902200"/>
            <a:ext cx="3048000" cy="1127149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952394A2-7320-3C42-8CB8-E1041A73AE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29600" y="4902200"/>
            <a:ext cx="3048000" cy="1127149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77186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9" grpId="0" animBg="1"/>
      <p:bldP spid="20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B695C5-B9F8-4E9F-914A-5F19C2D7C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718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B695C5-B9F8-4E9F-914A-5F19C2D7C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240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9624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4008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8392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5240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9624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4008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8392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7686A5-F2BD-2045-A9BE-8FA57BB6F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E50F2B-2C66-924F-A5AF-CFF6D51A83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99D3F5-F2E2-664C-B84E-66A270B22E5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649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DA3BA-8867-4773-8B8D-8D868A6B1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196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1DA3BA-8867-4773-8B8D-8D868A6B1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600" y="1524000"/>
            <a:ext cx="5181600" cy="451104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7B6AE2-1BE6-1C4B-AF39-4DC09F6812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EA65EE-8CDD-0246-8073-746AD778960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12A3D21-3D55-3943-87CD-C5F4444ECA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04356" y="1524000"/>
            <a:ext cx="5178044" cy="451104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95735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FC6126-B7B8-4E1E-8373-4F22FD662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848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1FC6126-B7B8-4E1E-8373-4F22FD662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16085" y="1524000"/>
            <a:ext cx="32766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0C8558-0CAA-C941-8090-7BCA56E6B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F92E5-F694-F74A-8451-35F506C2D8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F99B54-C99E-FF43-ACA5-AED32EF9E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8BDBE08-B2D8-A149-AB49-A36081BB1FE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88819" y="1524000"/>
            <a:ext cx="32766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FFD6FB1-7302-6040-BD88-BA00C9A9F53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59478" y="1524000"/>
            <a:ext cx="32766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7836D9F-38D5-5148-926E-181D143640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085" y="3632200"/>
            <a:ext cx="3276600" cy="24024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95C35A9-1555-294F-BA41-78569E573E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59478" y="3632200"/>
            <a:ext cx="3276600" cy="24024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049C6A-31E4-BE40-8338-EA004569CE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88819" y="3583053"/>
            <a:ext cx="3276600" cy="24024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7998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823046-0526-4C28-BE10-6EE14546E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801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823046-0526-4C28-BE10-6EE14546E5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29055" y="1524000"/>
            <a:ext cx="3276600" cy="3352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7FD341-7C4C-AE49-B33A-DF813384C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1A382D-7B14-7C49-A593-6FB309A4D1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D0FC7A-F706-C741-BFAE-4865D097C2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EDDCDA2-38D1-CB4B-B35C-1BED1EB09DE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86514" y="1524000"/>
            <a:ext cx="3276600" cy="3352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9585639-9F76-934B-B69C-7F12AF165B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57785" y="1524000"/>
            <a:ext cx="3276600" cy="3352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753BA86-33EF-ED44-8993-95350CB629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9055" y="5156200"/>
            <a:ext cx="3276600" cy="863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6243140-FECF-6A42-AAB0-081E85B836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3881" y="5156200"/>
            <a:ext cx="3276600" cy="863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F3B7DC7-AA30-A341-BFDC-3CED7E3DE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86514" y="5140264"/>
            <a:ext cx="3276600" cy="863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58412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0" grpId="0" animBg="1"/>
      <p:bldP spid="11" grpId="0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3A2567-0E5E-4519-8CB2-528A46D3D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6198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3A2567-0E5E-4519-8CB2-528A46D3D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3379" y="19050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33379" y="31242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33379" y="43434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52579" y="19050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52579" y="43434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71779" y="19050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71779" y="31242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071779" y="43434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1852579" y="31242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ECD5C0-F748-504B-BD42-4F746516E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D2CD2E-412F-2448-935E-FE53712D03B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1B8E9-E13A-FA4E-9DFE-D5232F5FBAD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816889D-9B60-DA4B-8730-CFCFF9236F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6800" y="1904999"/>
            <a:ext cx="6705600" cy="36576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29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255193-C58E-48B6-8DC0-39ADA20CA1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947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255193-C58E-48B6-8DC0-39ADA20CA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24732" y="19050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24732" y="31242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24732" y="43434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43932" y="19050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43932" y="43434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63132" y="19050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63132" y="31242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063132" y="43434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CC0D78-9E0F-2D47-8F56-99E30A224E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854C8-4650-BC40-9447-F9B7AB37BA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58FEA4-7DD2-6541-B8E1-82B1928AA56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08B4BDD-BE32-C04E-9061-C889878AB8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1905000"/>
            <a:ext cx="6705600" cy="3657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9580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  <p:bldP spid="12" grpId="0" animBg="1"/>
      <p:bldP spid="14" grpId="0" animBg="1"/>
      <p:bldP spid="15" grpId="0" animBg="1"/>
      <p:bldP spid="16" grpId="0" animBg="1"/>
      <p:bldP spid="17" grpId="0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11602D-7C91-4883-9BC8-31929E443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911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11602D-7C91-4883-9BC8-31929E443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02034" y="19513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2034" y="31705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2034" y="43897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21234" y="19513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21234" y="43897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40434" y="19513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40434" y="31705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040434" y="43897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1821234" y="31705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DFA30E-BA65-4140-A284-B4E2687C4F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B072F4-B173-EF43-91CD-A0B6288FB9D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9D5314-98BF-4144-9AA5-F67C7904C3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96D59EEF-B604-1641-9D1E-11C79341B8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6800" y="1951391"/>
            <a:ext cx="6705600" cy="36576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7776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  <p:bldP spid="12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7E1598E-99C1-4BD3-98E2-20F9CCD9F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013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7E1598E-99C1-4BD3-98E2-20F9CCD9F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4384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4384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8768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8768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73152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73152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97536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7536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73DDE1-D019-6543-AAAF-48728A522CA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B14DBF-3DFC-834F-899E-98357BEC732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C54D64-9D7C-9B43-A4D8-9AF6E3433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2733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37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125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EC0E60-18B8-42FB-874D-9F1C43B9D2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886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17230CF-70AD-4169-A3D9-15C084F263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C08FAFA-D1FB-46E6-89A3-DD7A04BA47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C2DFE58-F758-4C0F-8EF1-6DCDF3B3C60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799F0C6E-E47F-40E8-91FE-9342791F7A3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8CFDEE40-3229-4B8D-AFFB-D8FE0B6E1D69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9712C98-C61E-4DA8-BB75-0E6A065A64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F56DB403-034F-4B66-8061-45F4275B2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48B5E53A-A9F8-457A-A334-F01D2856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6189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60635A-3E66-4216-9CE0-4C352603C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26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60635A-3E66-4216-9CE0-4C352603C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4196" y="1844655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652196" y="1844655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04196" y="3676503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652196" y="3676503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256D4F-70A5-834E-ADDC-3139B6451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8FD0D0-92BD-5646-A762-7DD6C0F900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B9D6A7-C0A6-9049-BEB5-BD5DC2AAF9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0FE63DC-71A5-E64D-B8F6-6D9B893FB3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67600" y="1844655"/>
            <a:ext cx="4114800" cy="366064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4183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  <p:bldP spid="15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7639FF-4167-4CFE-AC27-710287C4B9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596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7639FF-4167-4CFE-AC27-710287C4B9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048000" y="16002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44000" y="16002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996646-ACDD-E24F-AE9A-CDE85CEB6C3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63D041-C871-684B-ACF7-15B12B37F0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602BF9-AEC1-964A-A87B-0D7E20EDC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319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12" grpId="0" animBg="1"/>
      <p:bldP spid="13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8766609-26E7-4ABE-BE5C-1D91B4170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684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8766609-26E7-4ABE-BE5C-1D91B4170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705600" y="619467"/>
            <a:ext cx="4876800" cy="60960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>
            <a:lvl1pPr rtl="0">
              <a:defRPr lang="uk-UA" sz="3000" b="0">
                <a:solidFill>
                  <a:schemeClr val="accent1"/>
                </a:solidFill>
                <a:latin typeface="+mj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8D33A0-716D-8242-B8BC-0FE6B4C9E2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705600" y="6248400"/>
            <a:ext cx="3657600" cy="304800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5F4DA9-99C3-DA40-AEC7-6C07E358490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D95E7BD6-CFDA-F340-991C-181929B8D9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5600" y="1524000"/>
            <a:ext cx="4876800" cy="4572000"/>
          </a:xfrm>
        </p:spPr>
        <p:txBody>
          <a:bodyPr/>
          <a:lstStyle>
            <a:lvl1pPr rtl="0">
              <a:defRPr sz="1867">
                <a:solidFill>
                  <a:schemeClr val="tx1"/>
                </a:solidFill>
                <a:latin typeface="+mn-lt"/>
              </a:defRPr>
            </a:lvl1pPr>
            <a:lvl2pPr marL="182889" indent="-182889" rtl="0">
              <a:buFont typeface="Arial" panose="020B0604020202020204" pitchFamily="34" charset="0"/>
              <a:buChar char="•"/>
              <a:defRPr sz="1600"/>
            </a:lvl2pPr>
            <a:lvl3pPr marL="365778" rtl="0">
              <a:defRPr sz="1333"/>
            </a:lvl3pPr>
            <a:lvl4pPr marL="548667" rtl="0">
              <a:defRPr/>
            </a:lvl4pPr>
            <a:lvl5pPr marL="731557"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39914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8B854C-9700-4287-A19C-714F8E211B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0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8B854C-9700-4287-A19C-714F8E211B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2AC8BC53-D372-9340-AD3B-26E013270D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609600"/>
            <a:ext cx="4876800" cy="60960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>
            <a:lvl1pPr rtl="0">
              <a:defRPr lang="uk-UA" sz="3000" b="0">
                <a:solidFill>
                  <a:schemeClr val="accent1"/>
                </a:solidFill>
                <a:latin typeface="+mj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0C2CC7-DBA1-E441-91B9-BB215540C0C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09600" y="6248400"/>
            <a:ext cx="4876800" cy="304800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9CD03F7-4CD1-534A-83B5-50A176E7E6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3999"/>
            <a:ext cx="4876800" cy="4572000"/>
          </a:xfrm>
        </p:spPr>
        <p:txBody>
          <a:bodyPr/>
          <a:lstStyle>
            <a:lvl1pPr rtl="0">
              <a:defRPr sz="1867">
                <a:solidFill>
                  <a:schemeClr val="tx1"/>
                </a:solidFill>
                <a:latin typeface="+mn-lt"/>
              </a:defRPr>
            </a:lvl1pPr>
            <a:lvl2pPr marL="182889" indent="-182889" rtl="0">
              <a:buFont typeface="Arial" panose="020B0604020202020204" pitchFamily="34" charset="0"/>
              <a:buChar char="•"/>
              <a:defRPr sz="1600"/>
            </a:lvl2pPr>
            <a:lvl3pPr marL="365778" rtl="0">
              <a:defRPr sz="1333"/>
            </a:lvl3pPr>
            <a:lvl4pPr marL="548667" indent="-182889" rtl="0">
              <a:defRPr/>
            </a:lvl4pPr>
            <a:lvl5pPr marL="731557"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88253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894912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page numb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F866372-D73C-4C5E-AD46-26531EC86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79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F866372-D73C-4C5E-AD46-26531EC86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A1AE6D-6602-354D-8012-A0A4AD4099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6B3B05-68DA-1E43-BA12-8FA79E579F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3148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5E9676B-1E63-4AB5-B2D9-35E9D5C03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561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5E9676B-1E63-4AB5-B2D9-35E9D5C03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329488" y="0"/>
            <a:ext cx="4862512" cy="6858000"/>
          </a:xfrm>
          <a:custGeom>
            <a:avLst/>
            <a:gdLst>
              <a:gd name="connsiteX0" fmla="*/ 0 w 4862512"/>
              <a:gd name="connsiteY0" fmla="*/ 0 h 6858000"/>
              <a:gd name="connsiteX1" fmla="*/ 1187 w 4862512"/>
              <a:gd name="connsiteY1" fmla="*/ 0 h 6858000"/>
              <a:gd name="connsiteX2" fmla="*/ 9497 w 4862512"/>
              <a:gd name="connsiteY2" fmla="*/ 0 h 6858000"/>
              <a:gd name="connsiteX3" fmla="*/ 32053 w 4862512"/>
              <a:gd name="connsiteY3" fmla="*/ 0 h 6858000"/>
              <a:gd name="connsiteX4" fmla="*/ 75977 w 4862512"/>
              <a:gd name="connsiteY4" fmla="*/ 0 h 6858000"/>
              <a:gd name="connsiteX5" fmla="*/ 148392 w 4862512"/>
              <a:gd name="connsiteY5" fmla="*/ 0 h 6858000"/>
              <a:gd name="connsiteX6" fmla="*/ 256422 w 4862512"/>
              <a:gd name="connsiteY6" fmla="*/ 0 h 6858000"/>
              <a:gd name="connsiteX7" fmla="*/ 407188 w 4862512"/>
              <a:gd name="connsiteY7" fmla="*/ 0 h 6858000"/>
              <a:gd name="connsiteX8" fmla="*/ 500824 w 4862512"/>
              <a:gd name="connsiteY8" fmla="*/ 0 h 6858000"/>
              <a:gd name="connsiteX9" fmla="*/ 607814 w 4862512"/>
              <a:gd name="connsiteY9" fmla="*/ 0 h 6858000"/>
              <a:gd name="connsiteX10" fmla="*/ 729051 w 4862512"/>
              <a:gd name="connsiteY10" fmla="*/ 0 h 6858000"/>
              <a:gd name="connsiteX11" fmla="*/ 865423 w 4862512"/>
              <a:gd name="connsiteY11" fmla="*/ 0 h 6858000"/>
              <a:gd name="connsiteX12" fmla="*/ 1017822 w 4862512"/>
              <a:gd name="connsiteY12" fmla="*/ 0 h 6858000"/>
              <a:gd name="connsiteX13" fmla="*/ 1187137 w 4862512"/>
              <a:gd name="connsiteY13" fmla="*/ 0 h 6858000"/>
              <a:gd name="connsiteX14" fmla="*/ 1374259 w 4862512"/>
              <a:gd name="connsiteY14" fmla="*/ 0 h 6858000"/>
              <a:gd name="connsiteX15" fmla="*/ 1580079 w 4862512"/>
              <a:gd name="connsiteY15" fmla="*/ 0 h 6858000"/>
              <a:gd name="connsiteX16" fmla="*/ 1805487 w 4862512"/>
              <a:gd name="connsiteY16" fmla="*/ 0 h 6858000"/>
              <a:gd name="connsiteX17" fmla="*/ 2051372 w 4862512"/>
              <a:gd name="connsiteY17" fmla="*/ 0 h 6858000"/>
              <a:gd name="connsiteX18" fmla="*/ 2318626 w 4862512"/>
              <a:gd name="connsiteY18" fmla="*/ 0 h 6858000"/>
              <a:gd name="connsiteX19" fmla="*/ 2608139 w 4862512"/>
              <a:gd name="connsiteY19" fmla="*/ 0 h 6858000"/>
              <a:gd name="connsiteX20" fmla="*/ 2920801 w 4862512"/>
              <a:gd name="connsiteY20" fmla="*/ 0 h 6858000"/>
              <a:gd name="connsiteX21" fmla="*/ 3257503 w 4862512"/>
              <a:gd name="connsiteY21" fmla="*/ 0 h 6858000"/>
              <a:gd name="connsiteX22" fmla="*/ 3619135 w 4862512"/>
              <a:gd name="connsiteY22" fmla="*/ 0 h 6858000"/>
              <a:gd name="connsiteX23" fmla="*/ 4006586 w 4862512"/>
              <a:gd name="connsiteY23" fmla="*/ 0 h 6858000"/>
              <a:gd name="connsiteX24" fmla="*/ 4420749 w 4862512"/>
              <a:gd name="connsiteY24" fmla="*/ 0 h 6858000"/>
              <a:gd name="connsiteX25" fmla="*/ 4862512 w 4862512"/>
              <a:gd name="connsiteY25" fmla="*/ 0 h 6858000"/>
              <a:gd name="connsiteX26" fmla="*/ 4862512 w 4862512"/>
              <a:gd name="connsiteY26" fmla="*/ 1675 h 6858000"/>
              <a:gd name="connsiteX27" fmla="*/ 4862512 w 4862512"/>
              <a:gd name="connsiteY27" fmla="*/ 13395 h 6858000"/>
              <a:gd name="connsiteX28" fmla="*/ 4862512 w 4862512"/>
              <a:gd name="connsiteY28" fmla="*/ 26161 h 6858000"/>
              <a:gd name="connsiteX29" fmla="*/ 4862512 w 4862512"/>
              <a:gd name="connsiteY29" fmla="*/ 45207 h 6858000"/>
              <a:gd name="connsiteX30" fmla="*/ 4862512 w 4862512"/>
              <a:gd name="connsiteY30" fmla="*/ 71787 h 6858000"/>
              <a:gd name="connsiteX31" fmla="*/ 4862512 w 4862512"/>
              <a:gd name="connsiteY31" fmla="*/ 107156 h 6858000"/>
              <a:gd name="connsiteX32" fmla="*/ 4862512 w 4862512"/>
              <a:gd name="connsiteY32" fmla="*/ 152572 h 6858000"/>
              <a:gd name="connsiteX33" fmla="*/ 4862512 w 4862512"/>
              <a:gd name="connsiteY33" fmla="*/ 209290 h 6858000"/>
              <a:gd name="connsiteX34" fmla="*/ 4862512 w 4862512"/>
              <a:gd name="connsiteY34" fmla="*/ 278565 h 6858000"/>
              <a:gd name="connsiteX35" fmla="*/ 4862512 w 4862512"/>
              <a:gd name="connsiteY35" fmla="*/ 361653 h 6858000"/>
              <a:gd name="connsiteX36" fmla="*/ 4862512 w 4862512"/>
              <a:gd name="connsiteY36" fmla="*/ 459809 h 6858000"/>
              <a:gd name="connsiteX37" fmla="*/ 4862512 w 4862512"/>
              <a:gd name="connsiteY37" fmla="*/ 574291 h 6858000"/>
              <a:gd name="connsiteX38" fmla="*/ 4862512 w 4862512"/>
              <a:gd name="connsiteY38" fmla="*/ 706352 h 6858000"/>
              <a:gd name="connsiteX39" fmla="*/ 4862512 w 4862512"/>
              <a:gd name="connsiteY39" fmla="*/ 857250 h 6858000"/>
              <a:gd name="connsiteX40" fmla="*/ 4862512 w 4862512"/>
              <a:gd name="connsiteY40" fmla="*/ 1028240 h 6858000"/>
              <a:gd name="connsiteX41" fmla="*/ 4862512 w 4862512"/>
              <a:gd name="connsiteY41" fmla="*/ 1220577 h 6858000"/>
              <a:gd name="connsiteX42" fmla="*/ 4862512 w 4862512"/>
              <a:gd name="connsiteY42" fmla="*/ 1435517 h 6858000"/>
              <a:gd name="connsiteX43" fmla="*/ 4862512 w 4862512"/>
              <a:gd name="connsiteY43" fmla="*/ 1674317 h 6858000"/>
              <a:gd name="connsiteX44" fmla="*/ 4862512 w 4862512"/>
              <a:gd name="connsiteY44" fmla="*/ 1938231 h 6858000"/>
              <a:gd name="connsiteX45" fmla="*/ 4862512 w 4862512"/>
              <a:gd name="connsiteY45" fmla="*/ 2228515 h 6858000"/>
              <a:gd name="connsiteX46" fmla="*/ 4862512 w 4862512"/>
              <a:gd name="connsiteY46" fmla="*/ 2546426 h 6858000"/>
              <a:gd name="connsiteX47" fmla="*/ 4862512 w 4862512"/>
              <a:gd name="connsiteY47" fmla="*/ 2716134 h 6858000"/>
              <a:gd name="connsiteX48" fmla="*/ 4862512 w 4862512"/>
              <a:gd name="connsiteY48" fmla="*/ 2893219 h 6858000"/>
              <a:gd name="connsiteX49" fmla="*/ 4862512 w 4862512"/>
              <a:gd name="connsiteY49" fmla="*/ 3077839 h 6858000"/>
              <a:gd name="connsiteX50" fmla="*/ 4862512 w 4862512"/>
              <a:gd name="connsiteY50" fmla="*/ 3270149 h 6858000"/>
              <a:gd name="connsiteX51" fmla="*/ 4862512 w 4862512"/>
              <a:gd name="connsiteY51" fmla="*/ 3470309 h 6858000"/>
              <a:gd name="connsiteX52" fmla="*/ 4862512 w 4862512"/>
              <a:gd name="connsiteY52" fmla="*/ 3678473 h 6858000"/>
              <a:gd name="connsiteX53" fmla="*/ 4862512 w 4862512"/>
              <a:gd name="connsiteY53" fmla="*/ 3894800 h 6858000"/>
              <a:gd name="connsiteX54" fmla="*/ 4862512 w 4862512"/>
              <a:gd name="connsiteY54" fmla="*/ 4119446 h 6858000"/>
              <a:gd name="connsiteX55" fmla="*/ 4862512 w 4862512"/>
              <a:gd name="connsiteY55" fmla="*/ 4352569 h 6858000"/>
              <a:gd name="connsiteX56" fmla="*/ 4862512 w 4862512"/>
              <a:gd name="connsiteY56" fmla="*/ 4594324 h 6858000"/>
              <a:gd name="connsiteX57" fmla="*/ 4862512 w 4862512"/>
              <a:gd name="connsiteY57" fmla="*/ 4844870 h 6858000"/>
              <a:gd name="connsiteX58" fmla="*/ 4862512 w 4862512"/>
              <a:gd name="connsiteY58" fmla="*/ 5104363 h 6858000"/>
              <a:gd name="connsiteX59" fmla="*/ 4862512 w 4862512"/>
              <a:gd name="connsiteY59" fmla="*/ 5372960 h 6858000"/>
              <a:gd name="connsiteX60" fmla="*/ 4862512 w 4862512"/>
              <a:gd name="connsiteY60" fmla="*/ 5650818 h 6858000"/>
              <a:gd name="connsiteX61" fmla="*/ 4862512 w 4862512"/>
              <a:gd name="connsiteY61" fmla="*/ 5938094 h 6858000"/>
              <a:gd name="connsiteX62" fmla="*/ 4862512 w 4862512"/>
              <a:gd name="connsiteY62" fmla="*/ 6234945 h 6858000"/>
              <a:gd name="connsiteX63" fmla="*/ 4862512 w 4862512"/>
              <a:gd name="connsiteY63" fmla="*/ 6541528 h 6858000"/>
              <a:gd name="connsiteX64" fmla="*/ 4862512 w 4862512"/>
              <a:gd name="connsiteY64" fmla="*/ 6858000 h 6858000"/>
              <a:gd name="connsiteX65" fmla="*/ 4856343 w 4862512"/>
              <a:gd name="connsiteY65" fmla="*/ 6858000 h 6858000"/>
              <a:gd name="connsiteX66" fmla="*/ 4841693 w 4862512"/>
              <a:gd name="connsiteY66" fmla="*/ 6858000 h 6858000"/>
              <a:gd name="connsiteX67" fmla="*/ 4813163 w 4862512"/>
              <a:gd name="connsiteY67" fmla="*/ 6858000 h 6858000"/>
              <a:gd name="connsiteX68" fmla="*/ 4766127 w 4862512"/>
              <a:gd name="connsiteY68" fmla="*/ 6858000 h 6858000"/>
              <a:gd name="connsiteX69" fmla="*/ 4695958 w 4862512"/>
              <a:gd name="connsiteY69" fmla="*/ 6858000 h 6858000"/>
              <a:gd name="connsiteX70" fmla="*/ 4598030 w 4862512"/>
              <a:gd name="connsiteY70" fmla="*/ 6858000 h 6858000"/>
              <a:gd name="connsiteX71" fmla="*/ 4467717 w 4862512"/>
              <a:gd name="connsiteY71" fmla="*/ 6858000 h 6858000"/>
              <a:gd name="connsiteX72" fmla="*/ 4300392 w 4862512"/>
              <a:gd name="connsiteY72" fmla="*/ 6858000 h 6858000"/>
              <a:gd name="connsiteX73" fmla="*/ 4091428 w 4862512"/>
              <a:gd name="connsiteY73" fmla="*/ 6858000 h 6858000"/>
              <a:gd name="connsiteX74" fmla="*/ 3836199 w 4862512"/>
              <a:gd name="connsiteY74" fmla="*/ 6858000 h 6858000"/>
              <a:gd name="connsiteX75" fmla="*/ 3689789 w 4862512"/>
              <a:gd name="connsiteY75" fmla="*/ 6858000 h 6858000"/>
              <a:gd name="connsiteX76" fmla="*/ 3530078 w 4862512"/>
              <a:gd name="connsiteY76" fmla="*/ 6858000 h 6858000"/>
              <a:gd name="connsiteX77" fmla="*/ 3356488 w 4862512"/>
              <a:gd name="connsiteY77" fmla="*/ 6858000 h 6858000"/>
              <a:gd name="connsiteX78" fmla="*/ 3168440 w 4862512"/>
              <a:gd name="connsiteY78" fmla="*/ 6858000 h 6858000"/>
              <a:gd name="connsiteX79" fmla="*/ 2965356 w 4862512"/>
              <a:gd name="connsiteY79" fmla="*/ 6858000 h 6858000"/>
              <a:gd name="connsiteX80" fmla="*/ 2746657 w 4862512"/>
              <a:gd name="connsiteY80" fmla="*/ 6858000 h 6858000"/>
              <a:gd name="connsiteX81" fmla="*/ 2511765 w 4862512"/>
              <a:gd name="connsiteY81" fmla="*/ 6858000 h 6858000"/>
              <a:gd name="connsiteX82" fmla="*/ 2260103 w 4862512"/>
              <a:gd name="connsiteY82" fmla="*/ 6858000 h 6858000"/>
              <a:gd name="connsiteX83" fmla="*/ 1991091 w 4862512"/>
              <a:gd name="connsiteY83" fmla="*/ 6858000 h 6858000"/>
              <a:gd name="connsiteX84" fmla="*/ 1704151 w 4862512"/>
              <a:gd name="connsiteY84" fmla="*/ 6858000 h 6858000"/>
              <a:gd name="connsiteX85" fmla="*/ 0 w 4862512"/>
              <a:gd name="connsiteY85" fmla="*/ 4800600 h 6858000"/>
              <a:gd name="connsiteX86" fmla="*/ 0 w 4862512"/>
              <a:gd name="connsiteY8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862512" h="6858000">
                <a:moveTo>
                  <a:pt x="0" y="0"/>
                </a:moveTo>
                <a:lnTo>
                  <a:pt x="1187" y="0"/>
                </a:lnTo>
                <a:lnTo>
                  <a:pt x="9497" y="0"/>
                </a:lnTo>
                <a:lnTo>
                  <a:pt x="32053" y="0"/>
                </a:lnTo>
                <a:lnTo>
                  <a:pt x="75977" y="0"/>
                </a:lnTo>
                <a:lnTo>
                  <a:pt x="148392" y="0"/>
                </a:lnTo>
                <a:lnTo>
                  <a:pt x="256422" y="0"/>
                </a:lnTo>
                <a:lnTo>
                  <a:pt x="407188" y="0"/>
                </a:lnTo>
                <a:lnTo>
                  <a:pt x="500824" y="0"/>
                </a:lnTo>
                <a:lnTo>
                  <a:pt x="607814" y="0"/>
                </a:lnTo>
                <a:lnTo>
                  <a:pt x="729051" y="0"/>
                </a:lnTo>
                <a:lnTo>
                  <a:pt x="865423" y="0"/>
                </a:lnTo>
                <a:lnTo>
                  <a:pt x="1017822" y="0"/>
                </a:lnTo>
                <a:lnTo>
                  <a:pt x="1187137" y="0"/>
                </a:lnTo>
                <a:lnTo>
                  <a:pt x="1374259" y="0"/>
                </a:lnTo>
                <a:lnTo>
                  <a:pt x="1580079" y="0"/>
                </a:lnTo>
                <a:lnTo>
                  <a:pt x="1805487" y="0"/>
                </a:lnTo>
                <a:lnTo>
                  <a:pt x="2051372" y="0"/>
                </a:lnTo>
                <a:lnTo>
                  <a:pt x="2318626" y="0"/>
                </a:lnTo>
                <a:lnTo>
                  <a:pt x="2608139" y="0"/>
                </a:lnTo>
                <a:lnTo>
                  <a:pt x="2920801" y="0"/>
                </a:lnTo>
                <a:lnTo>
                  <a:pt x="3257503" y="0"/>
                </a:lnTo>
                <a:lnTo>
                  <a:pt x="3619135" y="0"/>
                </a:lnTo>
                <a:lnTo>
                  <a:pt x="4006586" y="0"/>
                </a:lnTo>
                <a:lnTo>
                  <a:pt x="4420749" y="0"/>
                </a:lnTo>
                <a:lnTo>
                  <a:pt x="4862512" y="0"/>
                </a:lnTo>
                <a:lnTo>
                  <a:pt x="4862512" y="1675"/>
                </a:lnTo>
                <a:lnTo>
                  <a:pt x="4862512" y="13395"/>
                </a:lnTo>
                <a:lnTo>
                  <a:pt x="4862512" y="26161"/>
                </a:lnTo>
                <a:lnTo>
                  <a:pt x="4862512" y="45207"/>
                </a:lnTo>
                <a:lnTo>
                  <a:pt x="4862512" y="71787"/>
                </a:lnTo>
                <a:lnTo>
                  <a:pt x="4862512" y="107156"/>
                </a:lnTo>
                <a:lnTo>
                  <a:pt x="4862512" y="152572"/>
                </a:lnTo>
                <a:lnTo>
                  <a:pt x="4862512" y="209290"/>
                </a:lnTo>
                <a:lnTo>
                  <a:pt x="4862512" y="278565"/>
                </a:lnTo>
                <a:lnTo>
                  <a:pt x="4862512" y="361653"/>
                </a:lnTo>
                <a:lnTo>
                  <a:pt x="4862512" y="459809"/>
                </a:lnTo>
                <a:lnTo>
                  <a:pt x="4862512" y="574291"/>
                </a:lnTo>
                <a:lnTo>
                  <a:pt x="4862512" y="706352"/>
                </a:lnTo>
                <a:lnTo>
                  <a:pt x="4862512" y="857250"/>
                </a:lnTo>
                <a:lnTo>
                  <a:pt x="4862512" y="1028240"/>
                </a:lnTo>
                <a:lnTo>
                  <a:pt x="4862512" y="1220577"/>
                </a:lnTo>
                <a:lnTo>
                  <a:pt x="4862512" y="1435517"/>
                </a:lnTo>
                <a:lnTo>
                  <a:pt x="4862512" y="1674317"/>
                </a:lnTo>
                <a:lnTo>
                  <a:pt x="4862512" y="1938231"/>
                </a:lnTo>
                <a:lnTo>
                  <a:pt x="4862512" y="2228515"/>
                </a:lnTo>
                <a:lnTo>
                  <a:pt x="4862512" y="2546426"/>
                </a:lnTo>
                <a:lnTo>
                  <a:pt x="4862512" y="2716134"/>
                </a:lnTo>
                <a:lnTo>
                  <a:pt x="4862512" y="2893219"/>
                </a:lnTo>
                <a:lnTo>
                  <a:pt x="4862512" y="3077839"/>
                </a:lnTo>
                <a:lnTo>
                  <a:pt x="4862512" y="3270149"/>
                </a:lnTo>
                <a:lnTo>
                  <a:pt x="4862512" y="3470309"/>
                </a:lnTo>
                <a:lnTo>
                  <a:pt x="4862512" y="3678473"/>
                </a:lnTo>
                <a:lnTo>
                  <a:pt x="4862512" y="3894800"/>
                </a:lnTo>
                <a:lnTo>
                  <a:pt x="4862512" y="4119446"/>
                </a:lnTo>
                <a:lnTo>
                  <a:pt x="4862512" y="4352569"/>
                </a:lnTo>
                <a:lnTo>
                  <a:pt x="4862512" y="4594324"/>
                </a:lnTo>
                <a:lnTo>
                  <a:pt x="4862512" y="4844870"/>
                </a:lnTo>
                <a:lnTo>
                  <a:pt x="4862512" y="5104363"/>
                </a:lnTo>
                <a:lnTo>
                  <a:pt x="4862512" y="5372960"/>
                </a:lnTo>
                <a:lnTo>
                  <a:pt x="4862512" y="5650818"/>
                </a:lnTo>
                <a:lnTo>
                  <a:pt x="4862512" y="5938094"/>
                </a:lnTo>
                <a:lnTo>
                  <a:pt x="4862512" y="6234945"/>
                </a:lnTo>
                <a:lnTo>
                  <a:pt x="4862512" y="6541528"/>
                </a:lnTo>
                <a:lnTo>
                  <a:pt x="4862512" y="6858000"/>
                </a:lnTo>
                <a:lnTo>
                  <a:pt x="4856343" y="6858000"/>
                </a:lnTo>
                <a:lnTo>
                  <a:pt x="4841693" y="6858000"/>
                </a:lnTo>
                <a:lnTo>
                  <a:pt x="4813163" y="6858000"/>
                </a:lnTo>
                <a:lnTo>
                  <a:pt x="4766127" y="6858000"/>
                </a:lnTo>
                <a:lnTo>
                  <a:pt x="4695958" y="6858000"/>
                </a:lnTo>
                <a:lnTo>
                  <a:pt x="4598030" y="6858000"/>
                </a:lnTo>
                <a:lnTo>
                  <a:pt x="4467717" y="6858000"/>
                </a:lnTo>
                <a:lnTo>
                  <a:pt x="4300392" y="6858000"/>
                </a:lnTo>
                <a:lnTo>
                  <a:pt x="4091428" y="6858000"/>
                </a:lnTo>
                <a:lnTo>
                  <a:pt x="3836199" y="6858000"/>
                </a:lnTo>
                <a:lnTo>
                  <a:pt x="3689789" y="6858000"/>
                </a:lnTo>
                <a:lnTo>
                  <a:pt x="3530078" y="6858000"/>
                </a:lnTo>
                <a:lnTo>
                  <a:pt x="3356488" y="6858000"/>
                </a:lnTo>
                <a:lnTo>
                  <a:pt x="3168440" y="6858000"/>
                </a:lnTo>
                <a:lnTo>
                  <a:pt x="2965356" y="6858000"/>
                </a:lnTo>
                <a:lnTo>
                  <a:pt x="2746657" y="6858000"/>
                </a:lnTo>
                <a:lnTo>
                  <a:pt x="2511765" y="6858000"/>
                </a:lnTo>
                <a:lnTo>
                  <a:pt x="2260103" y="6858000"/>
                </a:lnTo>
                <a:lnTo>
                  <a:pt x="1991091" y="6858000"/>
                </a:lnTo>
                <a:lnTo>
                  <a:pt x="1704151" y="6858000"/>
                </a:lnTo>
                <a:cubicBezTo>
                  <a:pt x="727105" y="6675120"/>
                  <a:pt x="0" y="5783580"/>
                  <a:pt x="0" y="4800600"/>
                </a:cubicBezTo>
                <a:cubicBezTo>
                  <a:pt x="0" y="4800600"/>
                  <a:pt x="0" y="4800600"/>
                  <a:pt x="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E78237-B014-BD4A-A02F-3A0EB5D086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146048"/>
            <a:ext cx="5285232" cy="4315968"/>
          </a:xfrm>
        </p:spPr>
        <p:txBody>
          <a:bodyPr anchor="ctr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401703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690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C8C8C8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29171"/>
            <a:ext cx="110825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3575A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19250"/>
            <a:ext cx="11082528" cy="246221"/>
          </a:xfrm>
        </p:spPr>
        <p:txBody>
          <a:bodyPr anchor="ctr" anchorCtr="0"/>
          <a:lstStyle>
            <a:lvl1pPr rtl="0">
              <a:defRPr/>
            </a:lvl1pPr>
          </a:lstStyle>
          <a:p>
            <a:r>
              <a:rPr lang="en-US" sz="160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9866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06704F1-0423-4D73-B68E-7710E72EB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349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0289045-6F1C-457E-9C28-678185262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ED75F25-C2BE-4683-8F34-73BBDBC95C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5938616-CE26-4647-955F-E8A3CC193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A7AEB3A-A5CC-46A1-9FC2-A14A0DC8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765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188E8EF-4673-4151-A1F8-4890003BA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443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B69E850B-589C-458E-8C08-946C9EBE9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7D9AD54-E7D2-404F-A75B-A533D9730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5F5EC7F-B1D2-44A3-8FAA-F7D3B6DF6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0943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7A2DE6E-46DA-4B4F-B196-6A965CF5F5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5052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D75E832-554D-4D1A-9B6B-6EA94E0E3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D90F9A9-8869-4D96-9542-78D839261C2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BA4B68A-CD50-4957-AADC-D7858DA4EFA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C51F34A-DC41-462F-BB38-D1667553D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8364A99-1038-4268-AAD6-7AAFC3866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83E8CC1-1572-4F3D-960F-81D0E8208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419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33A410F-CC40-43E0-A88D-38050C764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50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8AE3FAB-1F42-425A-9061-1058165BD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EDB1336C-2792-42C2-BF32-59EB7B38EA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25BB90B-FAF5-4C6E-95D9-581015BF94F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1BEB290-DADB-482F-9E0C-F4F5CED3B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24FC1DC-F534-4E3F-89EE-CC439FC2E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2163965-1976-4B95-AF85-352E5D58E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655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vmlDrawing" Target="../drawings/vmlDrawing14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oleObject" Target="../embeddings/oleObject14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tags" Target="../tags/tag15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theme" Target="../theme/theme2.x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24A825-90BD-4AF1-BA5D-D040437BA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43727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15DA4A9F-5472-4C78-9F23-CE7997C0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902EE25-C6FF-4C9E-BC41-2902A15F4A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66BBDC-CF47-4229-BBB5-E7FE860A90D1}" type="datetimeFigureOut">
              <a:rPr lang="en-US" smtClean="0"/>
              <a:pPr/>
              <a:t>11/26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9BE3E20-53BD-4D20-AC0F-ADB6D146A8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4AC9F6A-CE35-4A42-8AC7-C4C56B90EA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n 7" descr="Texto, Patrón de fondo&#10;&#10;Descripción generada automáticamente">
            <a:extLst>
              <a:ext uri="{FF2B5EF4-FFF2-40B4-BE49-F238E27FC236}">
                <a16:creationId xmlns:a16="http://schemas.microsoft.com/office/drawing/2014/main" id="{4CDDD745-7E0A-429E-80CD-FD00190DE5D8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0302"/>
            <a:ext cx="12192000" cy="6727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738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AAEC0B0-19F4-423A-8861-7D3B34BEB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082518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8" name="think-cell Slide" r:id="rId49" imgW="395" imgH="396" progId="TCLayout.ActiveDocument.1">
                  <p:embed/>
                </p:oleObj>
              </mc:Choice>
              <mc:Fallback>
                <p:oleObj name="think-cell Slide" r:id="rId49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AAEC0B0-19F4-423A-8861-7D3B34BEB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0363200" y="6248400"/>
            <a:ext cx="1219200" cy="3048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 rtl="0">
              <a:defRPr lang="uk-UA" sz="1200" b="0" i="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368A02-6632-6E48-92F5-528ACA438C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728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  <a:p>
            <a:pPr lvl="5"/>
            <a:r>
              <a:rPr lang="en-US" dirty="0"/>
              <a:t>Sixth level </a:t>
            </a:r>
          </a:p>
          <a:p>
            <a:pPr lvl="6"/>
            <a:r>
              <a:rPr lang="en-US" dirty="0"/>
              <a:t>Seventh level </a:t>
            </a:r>
          </a:p>
          <a:p>
            <a:pPr lvl="7"/>
            <a:r>
              <a:rPr lang="en-US" dirty="0"/>
              <a:t>Eighth level 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447131FB-9475-2744-911B-EFA0B5F49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10972800" cy="609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A2CCD5-3444-0B41-815D-A4A6F4BA6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248400"/>
            <a:ext cx="9753600" cy="3048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66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548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</p:sldLayoutIdLs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46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182889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365778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67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731557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914446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097335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1280224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1280224" indent="0" algn="l" defTabSz="91444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40">
          <p15:clr>
            <a:srgbClr val="F26B43"/>
          </p15:clr>
        </p15:guide>
        <p15:guide id="2" pos="57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image" Target="../media/image5.jpeg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1.xml"/><Relationship Id="rId6" Type="http://schemas.openxmlformats.org/officeDocument/2006/relationships/tags" Target="../tags/tag69.xml"/><Relationship Id="rId11" Type="http://schemas.openxmlformats.org/officeDocument/2006/relationships/image" Target="../media/image4.emf"/><Relationship Id="rId5" Type="http://schemas.openxmlformats.org/officeDocument/2006/relationships/tags" Target="../tags/tag68.xml"/><Relationship Id="rId10" Type="http://schemas.openxmlformats.org/officeDocument/2006/relationships/oleObject" Target="../embeddings/oleObject59.bin"/><Relationship Id="rId4" Type="http://schemas.openxmlformats.org/officeDocument/2006/relationships/tags" Target="../tags/tag67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image" Target="../media/image6.dat"/><Relationship Id="rId2" Type="http://schemas.openxmlformats.org/officeDocument/2006/relationships/tags" Target="../tags/tag71.xml"/><Relationship Id="rId1" Type="http://schemas.openxmlformats.org/officeDocument/2006/relationships/vmlDrawing" Target="../drawings/vmlDrawing60.vml"/><Relationship Id="rId6" Type="http://schemas.openxmlformats.org/officeDocument/2006/relationships/tags" Target="../tags/tag75.xml"/><Relationship Id="rId11" Type="http://schemas.openxmlformats.org/officeDocument/2006/relationships/image" Target="../media/image1.emf"/><Relationship Id="rId5" Type="http://schemas.openxmlformats.org/officeDocument/2006/relationships/tags" Target="../tags/tag74.xml"/><Relationship Id="rId10" Type="http://schemas.openxmlformats.org/officeDocument/2006/relationships/oleObject" Target="../embeddings/oleObject60.bin"/><Relationship Id="rId4" Type="http://schemas.openxmlformats.org/officeDocument/2006/relationships/tags" Target="../tags/tag73.xml"/><Relationship Id="rId9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1.png"/><Relationship Id="rId3" Type="http://schemas.openxmlformats.org/officeDocument/2006/relationships/tags" Target="../tags/tag78.xml"/><Relationship Id="rId7" Type="http://schemas.openxmlformats.org/officeDocument/2006/relationships/oleObject" Target="../embeddings/oleObject61.bin"/><Relationship Id="rId12" Type="http://schemas.openxmlformats.org/officeDocument/2006/relationships/image" Target="../media/image10.svg"/><Relationship Id="rId2" Type="http://schemas.openxmlformats.org/officeDocument/2006/relationships/tags" Target="../tags/tag77.xml"/><Relationship Id="rId1" Type="http://schemas.openxmlformats.org/officeDocument/2006/relationships/vmlDrawing" Target="../drawings/vmlDrawing61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8.svg"/><Relationship Id="rId4" Type="http://schemas.openxmlformats.org/officeDocument/2006/relationships/tags" Target="../tags/tag79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13.png"/><Relationship Id="rId39" Type="http://schemas.openxmlformats.org/officeDocument/2006/relationships/image" Target="../media/image26.svg"/><Relationship Id="rId21" Type="http://schemas.openxmlformats.org/officeDocument/2006/relationships/tags" Target="../tags/tag99.xml"/><Relationship Id="rId34" Type="http://schemas.openxmlformats.org/officeDocument/2006/relationships/image" Target="../media/image21.png"/><Relationship Id="rId42" Type="http://schemas.openxmlformats.org/officeDocument/2006/relationships/image" Target="../media/image29.png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16.svg"/><Relationship Id="rId41" Type="http://schemas.openxmlformats.org/officeDocument/2006/relationships/image" Target="../media/image28.svg"/><Relationship Id="rId1" Type="http://schemas.openxmlformats.org/officeDocument/2006/relationships/vmlDrawing" Target="../drawings/vmlDrawing62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oleObject" Target="../embeddings/oleObject62.bin"/><Relationship Id="rId32" Type="http://schemas.openxmlformats.org/officeDocument/2006/relationships/image" Target="../media/image19.png"/><Relationship Id="rId37" Type="http://schemas.openxmlformats.org/officeDocument/2006/relationships/image" Target="../media/image24.svg"/><Relationship Id="rId40" Type="http://schemas.openxmlformats.org/officeDocument/2006/relationships/image" Target="../media/image27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notesSlide" Target="../notesSlides/notesSlide4.xml"/><Relationship Id="rId28" Type="http://schemas.openxmlformats.org/officeDocument/2006/relationships/image" Target="../media/image15.png"/><Relationship Id="rId36" Type="http://schemas.openxmlformats.org/officeDocument/2006/relationships/image" Target="../media/image23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18.sv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slideLayout" Target="../slideLayouts/slideLayout1.xml"/><Relationship Id="rId27" Type="http://schemas.openxmlformats.org/officeDocument/2006/relationships/image" Target="../media/image14.svg"/><Relationship Id="rId30" Type="http://schemas.openxmlformats.org/officeDocument/2006/relationships/image" Target="../media/image17.png"/><Relationship Id="rId35" Type="http://schemas.openxmlformats.org/officeDocument/2006/relationships/image" Target="../media/image22.sv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1.emf"/><Relationship Id="rId33" Type="http://schemas.openxmlformats.org/officeDocument/2006/relationships/image" Target="../media/image20.svg"/><Relationship Id="rId38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1.xml"/><Relationship Id="rId7" Type="http://schemas.openxmlformats.org/officeDocument/2006/relationships/oleObject" Target="../embeddings/oleObject63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63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02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26" Type="http://schemas.openxmlformats.org/officeDocument/2006/relationships/tags" Target="../tags/tag127.xml"/><Relationship Id="rId39" Type="http://schemas.openxmlformats.org/officeDocument/2006/relationships/image" Target="../media/image1.emf"/><Relationship Id="rId21" Type="http://schemas.openxmlformats.org/officeDocument/2006/relationships/tags" Target="../tags/tag122.xml"/><Relationship Id="rId34" Type="http://schemas.openxmlformats.org/officeDocument/2006/relationships/tags" Target="../tags/tag135.xml"/><Relationship Id="rId42" Type="http://schemas.openxmlformats.org/officeDocument/2006/relationships/image" Target="../media/image8.svg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0" Type="http://schemas.openxmlformats.org/officeDocument/2006/relationships/tags" Target="../tags/tag121.xml"/><Relationship Id="rId29" Type="http://schemas.openxmlformats.org/officeDocument/2006/relationships/tags" Target="../tags/tag130.xml"/><Relationship Id="rId41" Type="http://schemas.openxmlformats.org/officeDocument/2006/relationships/image" Target="../media/image7.png"/><Relationship Id="rId1" Type="http://schemas.openxmlformats.org/officeDocument/2006/relationships/vmlDrawing" Target="../drawings/vmlDrawing64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24" Type="http://schemas.openxmlformats.org/officeDocument/2006/relationships/tags" Target="../tags/tag125.xml"/><Relationship Id="rId32" Type="http://schemas.openxmlformats.org/officeDocument/2006/relationships/tags" Target="../tags/tag133.xml"/><Relationship Id="rId37" Type="http://schemas.openxmlformats.org/officeDocument/2006/relationships/notesSlide" Target="../notesSlides/notesSlide6.xml"/><Relationship Id="rId40" Type="http://schemas.openxmlformats.org/officeDocument/2006/relationships/chart" Target="../charts/chart1.xml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slideLayout" Target="../slideLayouts/slideLayout1.xml"/><Relationship Id="rId10" Type="http://schemas.openxmlformats.org/officeDocument/2006/relationships/tags" Target="../tags/tag111.xml"/><Relationship Id="rId19" Type="http://schemas.openxmlformats.org/officeDocument/2006/relationships/tags" Target="../tags/tag120.xml"/><Relationship Id="rId31" Type="http://schemas.openxmlformats.org/officeDocument/2006/relationships/tags" Target="../tags/tag132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tags" Target="../tags/tag131.xml"/><Relationship Id="rId35" Type="http://schemas.openxmlformats.org/officeDocument/2006/relationships/tags" Target="../tags/tag136.xml"/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5" Type="http://schemas.openxmlformats.org/officeDocument/2006/relationships/tags" Target="../tags/tag126.xml"/><Relationship Id="rId33" Type="http://schemas.openxmlformats.org/officeDocument/2006/relationships/tags" Target="../tags/tag134.xml"/><Relationship Id="rId38" Type="http://schemas.openxmlformats.org/officeDocument/2006/relationships/oleObject" Target="../embeddings/oleObject6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31.svg"/><Relationship Id="rId26" Type="http://schemas.openxmlformats.org/officeDocument/2006/relationships/image" Target="../media/image39.svg"/><Relationship Id="rId3" Type="http://schemas.openxmlformats.org/officeDocument/2006/relationships/tags" Target="../tags/tag138.xml"/><Relationship Id="rId21" Type="http://schemas.openxmlformats.org/officeDocument/2006/relationships/image" Target="../media/image34.png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image" Target="../media/image30.png"/><Relationship Id="rId25" Type="http://schemas.openxmlformats.org/officeDocument/2006/relationships/image" Target="../media/image38.png"/><Relationship Id="rId2" Type="http://schemas.openxmlformats.org/officeDocument/2006/relationships/tags" Target="../tags/tag137.xml"/><Relationship Id="rId16" Type="http://schemas.openxmlformats.org/officeDocument/2006/relationships/image" Target="../media/image1.emf"/><Relationship Id="rId20" Type="http://schemas.openxmlformats.org/officeDocument/2006/relationships/image" Target="../media/image33.svg"/><Relationship Id="rId29" Type="http://schemas.openxmlformats.org/officeDocument/2006/relationships/image" Target="../media/image42.png"/><Relationship Id="rId1" Type="http://schemas.openxmlformats.org/officeDocument/2006/relationships/vmlDrawing" Target="../drawings/vmlDrawing65.v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24" Type="http://schemas.openxmlformats.org/officeDocument/2006/relationships/image" Target="../media/image37.svg"/><Relationship Id="rId32" Type="http://schemas.openxmlformats.org/officeDocument/2006/relationships/image" Target="../media/image45.svg"/><Relationship Id="rId5" Type="http://schemas.openxmlformats.org/officeDocument/2006/relationships/tags" Target="../tags/tag140.xml"/><Relationship Id="rId15" Type="http://schemas.openxmlformats.org/officeDocument/2006/relationships/oleObject" Target="../embeddings/oleObject65.bin"/><Relationship Id="rId23" Type="http://schemas.openxmlformats.org/officeDocument/2006/relationships/image" Target="../media/image36.png"/><Relationship Id="rId28" Type="http://schemas.openxmlformats.org/officeDocument/2006/relationships/image" Target="../media/image41.svg"/><Relationship Id="rId10" Type="http://schemas.openxmlformats.org/officeDocument/2006/relationships/tags" Target="../tags/tag145.xml"/><Relationship Id="rId19" Type="http://schemas.openxmlformats.org/officeDocument/2006/relationships/image" Target="../media/image32.png"/><Relationship Id="rId31" Type="http://schemas.openxmlformats.org/officeDocument/2006/relationships/image" Target="../media/image44.png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notesSlide" Target="../notesSlides/notesSlide7.xml"/><Relationship Id="rId22" Type="http://schemas.openxmlformats.org/officeDocument/2006/relationships/image" Target="../media/image35.svg"/><Relationship Id="rId27" Type="http://schemas.openxmlformats.org/officeDocument/2006/relationships/image" Target="../media/image40.png"/><Relationship Id="rId30" Type="http://schemas.openxmlformats.org/officeDocument/2006/relationships/image" Target="../media/image43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48.xml"/><Relationship Id="rId7" Type="http://schemas.openxmlformats.org/officeDocument/2006/relationships/oleObject" Target="../embeddings/oleObject66.bin"/><Relationship Id="rId2" Type="http://schemas.openxmlformats.org/officeDocument/2006/relationships/vmlDrawing" Target="../drawings/vmlDrawing66.vml"/><Relationship Id="rId1" Type="http://schemas.openxmlformats.org/officeDocument/2006/relationships/themeOverride" Target="../theme/themeOverride2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149.xml"/><Relationship Id="rId9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2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63281469"/>
              </p:ext>
            </p:extLst>
          </p:nvPr>
        </p:nvGraphicFramePr>
        <p:xfrm>
          <a:off x="1678" y="16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0" name="think-cell Slide" r:id="rId10" imgW="423" imgH="424" progId="TCLayout.ActiveDocument.1">
                  <p:embed/>
                </p:oleObj>
              </mc:Choice>
              <mc:Fallback>
                <p:oleObj name="think-cell Slide" r:id="rId10" imgW="423" imgH="424" progId="TCLayout.ActiveDocument.1">
                  <p:embed/>
                  <p:pic>
                    <p:nvPicPr>
                      <p:cNvPr id="18" name="Object 2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78" y="16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" y="51"/>
            <a:ext cx="158747" cy="158747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pic>
        <p:nvPicPr>
          <p:cNvPr id="4" name="Imagen 8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B9BE3BA3-1090-4B81-9CAB-F7FDD01D32A4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 amt="8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8C9B901-A4E8-40D6-8BFD-0126682F84B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25559" y="2126549"/>
            <a:ext cx="3943073" cy="19604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3500" b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Calibri" panose="020F0502020204030204"/>
              </a:rPr>
              <a:t>Leveraging Advanced Analytics to enhance pharmaceutical sales forecast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AE9203-645D-4ECE-8240-9A60566F832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25559" y="4762833"/>
            <a:ext cx="3943073" cy="2893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1600" b="1" i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Calibri" panose="020F0502020204030204"/>
              </a:rPr>
              <a:t>Team 46: Zixiao Chen &amp; Alejandro Sáez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297676-EAC0-41FA-A3B8-ABA461B4A71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25559" y="5052156"/>
            <a:ext cx="3943073" cy="2893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1600" b="1" i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Calibri" panose="020F0502020204030204"/>
              </a:rPr>
              <a:t>November 2021</a:t>
            </a:r>
          </a:p>
        </p:txBody>
      </p:sp>
    </p:spTree>
    <p:extLst>
      <p:ext uri="{BB962C8B-B14F-4D97-AF65-F5344CB8AC3E}">
        <p14:creationId xmlns:p14="http://schemas.microsoft.com/office/powerpoint/2010/main" val="725418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7E4B3C-1842-47A0-8508-5A6356DC37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0076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6F46D04C-32E1-4FB1-B929-AE8765E73262}"/>
              </a:ext>
            </a:extLst>
          </p:cNvPr>
          <p:cNvSpPr/>
          <p:nvPr/>
        </p:nvSpPr>
        <p:spPr>
          <a:xfrm>
            <a:off x="4039263" y="978010"/>
            <a:ext cx="8152737" cy="5879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E001C7-F900-4F10-AB69-348F20D0CDA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07814" y="1431171"/>
            <a:ext cx="4816993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Provide context of the forecasting problem </a:t>
            </a:r>
            <a:r>
              <a:rPr lang="en-US" sz="2000" dirty="0"/>
              <a:t>at a macro and </a:t>
            </a:r>
            <a:r>
              <a:rPr lang="en-US" sz="2000" i="1" dirty="0"/>
              <a:t>Novartis</a:t>
            </a:r>
            <a:r>
              <a:rPr lang="en-US" sz="2000" dirty="0"/>
              <a:t>-specific level</a:t>
            </a:r>
            <a:endParaRPr lang="en-US" sz="2000" i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65F27DF-3390-4BBA-8D86-A739110F46D8}"/>
              </a:ext>
            </a:extLst>
          </p:cNvPr>
          <p:cNvSpPr/>
          <p:nvPr/>
        </p:nvSpPr>
        <p:spPr>
          <a:xfrm>
            <a:off x="6031869" y="1431171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F70774C6-6993-4C23-9321-DA03AE59F8F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745281" y="123400"/>
            <a:ext cx="6231172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FC18CF-8209-4B96-B856-7EB74FE0EA9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807814" y="2701456"/>
            <a:ext cx="4816993" cy="907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Present our approach to solve the case-study </a:t>
            </a:r>
            <a:r>
              <a:rPr lang="en-US" sz="2000" dirty="0"/>
              <a:t>by predicting sales for every pharmaceutical brand at a monthly and regional level</a:t>
            </a:r>
            <a:endParaRPr lang="en-US" sz="2000" i="1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D906F0D-C3FF-4F36-A04C-40474D06AFD1}"/>
              </a:ext>
            </a:extLst>
          </p:cNvPr>
          <p:cNvSpPr/>
          <p:nvPr/>
        </p:nvSpPr>
        <p:spPr>
          <a:xfrm>
            <a:off x="6031869" y="2701456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21A346-8775-49AE-9919-CBFD651C1FE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07814" y="4148184"/>
            <a:ext cx="4816993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Showcase the details of the model developed </a:t>
            </a:r>
            <a:r>
              <a:rPr lang="en-US" sz="2000" dirty="0">
                <a:ln w="6350" cap="flat">
                  <a:noFill/>
                  <a:miter lim="800000"/>
                </a:ln>
                <a:ea typeface="+mj-ea"/>
                <a:cs typeface="+mj-cs"/>
              </a:rPr>
              <a:t>and illustrate examples of the predictive effort</a:t>
            </a:r>
            <a:endParaRPr lang="en-US" sz="2000" i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D7EF1A-D88D-4A0E-A258-15B950517100}"/>
              </a:ext>
            </a:extLst>
          </p:cNvPr>
          <p:cNvSpPr/>
          <p:nvPr/>
        </p:nvSpPr>
        <p:spPr>
          <a:xfrm>
            <a:off x="6031869" y="4148184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13E951-12FA-40E6-950A-B007C72B3A4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807814" y="5418468"/>
            <a:ext cx="4816993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/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Summarize findings </a:t>
            </a:r>
            <a:r>
              <a:rPr lang="en-US" sz="2000" dirty="0">
                <a:solidFill>
                  <a:srgbClr val="000000"/>
                </a:solidFill>
              </a:rPr>
              <a:t>and outline </a:t>
            </a:r>
            <a:r>
              <a:rPr lang="en-US" sz="2000" dirty="0">
                <a:ln w="6350" cap="flat">
                  <a:noFill/>
                  <a:miter lim="800000"/>
                </a:ln>
                <a:ea typeface="+mj-ea"/>
                <a:cs typeface="+mj-cs"/>
              </a:rPr>
              <a:t>steps forward to directly </a:t>
            </a: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extract value from the study</a:t>
            </a: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C0DF44D-1FF5-46A1-837F-76361BB5953C}"/>
              </a:ext>
            </a:extLst>
          </p:cNvPr>
          <p:cNvSpPr/>
          <p:nvPr/>
        </p:nvSpPr>
        <p:spPr>
          <a:xfrm>
            <a:off x="6025932" y="5418468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40AD95-E07A-4480-8962-213E58CE5D8F}"/>
              </a:ext>
            </a:extLst>
          </p:cNvPr>
          <p:cNvSpPr/>
          <p:nvPr/>
        </p:nvSpPr>
        <p:spPr>
          <a:xfrm>
            <a:off x="5040332" y="1"/>
            <a:ext cx="459238" cy="6858000"/>
          </a:xfrm>
          <a:prstGeom prst="rect">
            <a:avLst/>
          </a:prstGeom>
          <a:solidFill>
            <a:schemeClr val="accent1">
              <a:lumMod val="60000"/>
              <a:lumOff val="40000"/>
              <a:alpha val="88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C6A5E1-577D-41CD-8C45-8F0ADFBD26E2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44" r="23418"/>
          <a:stretch/>
        </p:blipFill>
        <p:spPr>
          <a:xfrm>
            <a:off x="0" y="0"/>
            <a:ext cx="5040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980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F64BA3D-A148-4958-BFBB-978B5E8B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6656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5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0603C6F8-CF77-4E3F-BB13-B769D2E3DBEA}"/>
              </a:ext>
            </a:extLst>
          </p:cNvPr>
          <p:cNvGrpSpPr/>
          <p:nvPr/>
        </p:nvGrpSpPr>
        <p:grpSpPr>
          <a:xfrm>
            <a:off x="6623377" y="1748948"/>
            <a:ext cx="5048286" cy="1174143"/>
            <a:chOff x="6626289" y="1748948"/>
            <a:chExt cx="5126067" cy="1174143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45EAA112-ACDA-4F43-ADE4-42A98B324EE4}"/>
                </a:ext>
              </a:extLst>
            </p:cNvPr>
            <p:cNvSpPr/>
            <p:nvPr/>
          </p:nvSpPr>
          <p:spPr>
            <a:xfrm>
              <a:off x="6631783" y="1748948"/>
              <a:ext cx="5120573" cy="1169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800">
                <a:solidFill>
                  <a:schemeClr val="tx1"/>
                </a:solidFill>
              </a:endParaRP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A3BCBB6-3413-482D-AC95-C2066B9911B2}"/>
                </a:ext>
              </a:extLst>
            </p:cNvPr>
            <p:cNvCxnSpPr>
              <a:cxnSpLocks/>
            </p:cNvCxnSpPr>
            <p:nvPr/>
          </p:nvCxnSpPr>
          <p:spPr>
            <a:xfrm>
              <a:off x="6626289" y="2923091"/>
              <a:ext cx="5126067" cy="0"/>
            </a:xfrm>
            <a:prstGeom prst="line">
              <a:avLst/>
            </a:prstGeom>
            <a:ln w="25400" cap="flat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AC734E67-8D0A-4CB8-9B0B-9E7F5B28B9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20523"/>
            <a:ext cx="9144000" cy="2387600"/>
          </a:xfrm>
        </p:spPr>
        <p:txBody>
          <a:bodyPr vert="horz">
            <a:normAutofit/>
          </a:bodyPr>
          <a:lstStyle/>
          <a:p>
            <a:br>
              <a:rPr lang="en-US" dirty="0"/>
            </a:br>
            <a:endParaRPr lang="en-US" dirty="0"/>
          </a:p>
        </p:txBody>
      </p:sp>
      <p:sp>
        <p:nvSpPr>
          <p:cNvPr id="59" name="2. Slide Title">
            <a:extLst>
              <a:ext uri="{FF2B5EF4-FFF2-40B4-BE49-F238E27FC236}">
                <a16:creationId xmlns:a16="http://schemas.microsoft.com/office/drawing/2014/main" id="{8C7199D1-BB4E-4F0F-A030-47412663EC0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700582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A: Context and objectives of the forecasting case-study 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2418FCC-2A05-4072-BEAD-ED9EB30A0BD4}"/>
              </a:ext>
            </a:extLst>
          </p:cNvPr>
          <p:cNvSpPr/>
          <p:nvPr/>
        </p:nvSpPr>
        <p:spPr>
          <a:xfrm>
            <a:off x="550861" y="1748947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DD2B083-D6B8-42D4-8428-AC642E22BBCC}"/>
              </a:ext>
            </a:extLst>
          </p:cNvPr>
          <p:cNvCxnSpPr>
            <a:cxnSpLocks/>
          </p:cNvCxnSpPr>
          <p:nvPr/>
        </p:nvCxnSpPr>
        <p:spPr>
          <a:xfrm>
            <a:off x="550863" y="2659749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1A85F916-FE5E-4886-AD7B-E65F385B18E0}"/>
              </a:ext>
            </a:extLst>
          </p:cNvPr>
          <p:cNvSpPr/>
          <p:nvPr/>
        </p:nvSpPr>
        <p:spPr>
          <a:xfrm>
            <a:off x="550863" y="2752097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21A9910-3082-465C-8321-86F61FC07A93}"/>
              </a:ext>
            </a:extLst>
          </p:cNvPr>
          <p:cNvCxnSpPr>
            <a:cxnSpLocks/>
          </p:cNvCxnSpPr>
          <p:nvPr/>
        </p:nvCxnSpPr>
        <p:spPr>
          <a:xfrm>
            <a:off x="550863" y="3662898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4719E8C7-2817-40F7-A165-7624475AA586}"/>
              </a:ext>
            </a:extLst>
          </p:cNvPr>
          <p:cNvSpPr/>
          <p:nvPr/>
        </p:nvSpPr>
        <p:spPr>
          <a:xfrm>
            <a:off x="550863" y="3755246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62FFEEA-9D85-49C0-A4E3-0E37870DDEDA}"/>
              </a:ext>
            </a:extLst>
          </p:cNvPr>
          <p:cNvCxnSpPr>
            <a:cxnSpLocks/>
          </p:cNvCxnSpPr>
          <p:nvPr/>
        </p:nvCxnSpPr>
        <p:spPr>
          <a:xfrm>
            <a:off x="550863" y="4666048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0F10C177-7AFD-43B7-A802-8DAFA7DAADCE}"/>
              </a:ext>
            </a:extLst>
          </p:cNvPr>
          <p:cNvSpPr/>
          <p:nvPr/>
        </p:nvSpPr>
        <p:spPr>
          <a:xfrm>
            <a:off x="550863" y="4758397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42607F6F-6A91-4F09-866F-0CAB1E0982AA}"/>
              </a:ext>
            </a:extLst>
          </p:cNvPr>
          <p:cNvCxnSpPr>
            <a:cxnSpLocks/>
          </p:cNvCxnSpPr>
          <p:nvPr/>
        </p:nvCxnSpPr>
        <p:spPr>
          <a:xfrm>
            <a:off x="550863" y="5669198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724B7917-8BAC-44E3-B8BD-7A4732B62303}"/>
              </a:ext>
            </a:extLst>
          </p:cNvPr>
          <p:cNvSpPr txBox="1"/>
          <p:nvPr/>
        </p:nvSpPr>
        <p:spPr>
          <a:xfrm>
            <a:off x="550863" y="1835016"/>
            <a:ext cx="2385135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Accurate sales forecasting is a top priority for pharmaceutical firms… 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434119A-2FF5-4437-B011-26E7D43AAB99}"/>
              </a:ext>
            </a:extLst>
          </p:cNvPr>
          <p:cNvSpPr txBox="1"/>
          <p:nvPr/>
        </p:nvSpPr>
        <p:spPr>
          <a:xfrm>
            <a:off x="550861" y="2814090"/>
            <a:ext cx="2385134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increasing goodness of fit of predictive models by 1 p.p. can unlock significant value…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1290FEA-66B0-4C8B-8CA3-0B6A0787DB2A}"/>
              </a:ext>
            </a:extLst>
          </p:cNvPr>
          <p:cNvSpPr txBox="1"/>
          <p:nvPr/>
        </p:nvSpPr>
        <p:spPr>
          <a:xfrm>
            <a:off x="550864" y="3841316"/>
            <a:ext cx="2385134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the global breadth of </a:t>
            </a:r>
            <a:r>
              <a:rPr lang="en-US" sz="1400" b="1" i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Novartis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 makes it necessary to use analytic approaches…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3F09185-20F1-49CF-BA99-A7298891AA17}"/>
              </a:ext>
            </a:extLst>
          </p:cNvPr>
          <p:cNvSpPr txBox="1"/>
          <p:nvPr/>
        </p:nvSpPr>
        <p:spPr>
          <a:xfrm>
            <a:off x="550862" y="4844465"/>
            <a:ext cx="2495312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solving the forecasting challenge is a humanitarian concern during the pandemic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E04DA18-C372-48D3-9467-B3F712CB6FF6}"/>
              </a:ext>
            </a:extLst>
          </p:cNvPr>
          <p:cNvSpPr txBox="1"/>
          <p:nvPr/>
        </p:nvSpPr>
        <p:spPr>
          <a:xfrm>
            <a:off x="4909635" y="1927349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FD89A61-351F-4F2E-A812-363E5585747E}"/>
              </a:ext>
            </a:extLst>
          </p:cNvPr>
          <p:cNvSpPr txBox="1"/>
          <p:nvPr/>
        </p:nvSpPr>
        <p:spPr>
          <a:xfrm>
            <a:off x="3390847" y="1905007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17F02A6-E047-49C6-A5B0-AD193C9F5817}"/>
              </a:ext>
            </a:extLst>
          </p:cNvPr>
          <p:cNvSpPr txBox="1"/>
          <p:nvPr/>
        </p:nvSpPr>
        <p:spPr>
          <a:xfrm>
            <a:off x="3577098" y="2296682"/>
            <a:ext cx="201979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847361C-2CAB-4483-81EE-CF3161DF854C}"/>
              </a:ext>
            </a:extLst>
          </p:cNvPr>
          <p:cNvSpPr txBox="1"/>
          <p:nvPr/>
        </p:nvSpPr>
        <p:spPr>
          <a:xfrm>
            <a:off x="5107169" y="2296682"/>
            <a:ext cx="201979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58632CF-2C34-4D7C-985C-4A8232FD8C3A}"/>
              </a:ext>
            </a:extLst>
          </p:cNvPr>
          <p:cNvSpPr txBox="1"/>
          <p:nvPr/>
        </p:nvSpPr>
        <p:spPr>
          <a:xfrm>
            <a:off x="4909635" y="2894471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F29C832-4BCC-47E7-865B-C268B26FC273}"/>
              </a:ext>
            </a:extLst>
          </p:cNvPr>
          <p:cNvSpPr txBox="1"/>
          <p:nvPr/>
        </p:nvSpPr>
        <p:spPr>
          <a:xfrm>
            <a:off x="3313903" y="2881374"/>
            <a:ext cx="663643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~XXX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D0DEAED-A5D7-453B-960A-EC430709643D}"/>
              </a:ext>
            </a:extLst>
          </p:cNvPr>
          <p:cNvSpPr txBox="1"/>
          <p:nvPr/>
        </p:nvSpPr>
        <p:spPr>
          <a:xfrm>
            <a:off x="3347873" y="3223821"/>
            <a:ext cx="66043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Out of stock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FE0B91B-EB75-4CEB-9B7B-3EE797DE68D9}"/>
              </a:ext>
            </a:extLst>
          </p:cNvPr>
          <p:cNvSpPr txBox="1"/>
          <p:nvPr/>
        </p:nvSpPr>
        <p:spPr>
          <a:xfrm>
            <a:off x="5107169" y="3223821"/>
            <a:ext cx="201979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XXX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A983C2D-9223-4E58-922C-EB8F27318561}"/>
              </a:ext>
            </a:extLst>
          </p:cNvPr>
          <p:cNvSpPr txBox="1"/>
          <p:nvPr/>
        </p:nvSpPr>
        <p:spPr>
          <a:xfrm>
            <a:off x="4832691" y="3861593"/>
            <a:ext cx="663643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~XXX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AC40029-EBBD-4A8A-A04C-123D5B3D412F}"/>
              </a:ext>
            </a:extLst>
          </p:cNvPr>
          <p:cNvSpPr txBox="1"/>
          <p:nvPr/>
        </p:nvSpPr>
        <p:spPr>
          <a:xfrm>
            <a:off x="3390847" y="3857741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930CDCA-735C-41B7-8C86-EE78407458CA}"/>
              </a:ext>
            </a:extLst>
          </p:cNvPr>
          <p:cNvSpPr txBox="1"/>
          <p:nvPr/>
        </p:nvSpPr>
        <p:spPr>
          <a:xfrm>
            <a:off x="3176711" y="4204935"/>
            <a:ext cx="1179003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# countries where </a:t>
            </a:r>
            <a:r>
              <a:rPr lang="en-US" sz="1000" i="1" dirty="0">
                <a:solidFill>
                  <a:schemeClr val="tx1">
                    <a:lumMod val="50000"/>
                  </a:schemeClr>
                </a:solidFill>
              </a:rPr>
              <a:t>Novartis</a:t>
            </a: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 has presence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F516E0D-6247-429E-9017-3D7382C3FFD0}"/>
              </a:ext>
            </a:extLst>
          </p:cNvPr>
          <p:cNvSpPr txBox="1"/>
          <p:nvPr/>
        </p:nvSpPr>
        <p:spPr>
          <a:xfrm>
            <a:off x="4449250" y="4204935"/>
            <a:ext cx="1430524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# pharmaceuticals in existing repertoir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B86D385-D20F-4521-997F-BD7D41E01DEF}"/>
              </a:ext>
            </a:extLst>
          </p:cNvPr>
          <p:cNvSpPr txBox="1"/>
          <p:nvPr/>
        </p:nvSpPr>
        <p:spPr>
          <a:xfrm>
            <a:off x="4909635" y="4828716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E1748E1-74F9-4A05-BBFF-01D285DD274B}"/>
              </a:ext>
            </a:extLst>
          </p:cNvPr>
          <p:cNvSpPr txBox="1"/>
          <p:nvPr/>
        </p:nvSpPr>
        <p:spPr>
          <a:xfrm>
            <a:off x="3390847" y="4834107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28D9F6B-9BB7-41F7-A05D-654BEF03BAFA}"/>
              </a:ext>
            </a:extLst>
          </p:cNvPr>
          <p:cNvSpPr txBox="1"/>
          <p:nvPr/>
        </p:nvSpPr>
        <p:spPr>
          <a:xfrm>
            <a:off x="3544734" y="5213797"/>
            <a:ext cx="201979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XXX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5DCECF8-F0F8-4235-B3CA-C1E9ABFBCB3B}"/>
              </a:ext>
            </a:extLst>
          </p:cNvPr>
          <p:cNvSpPr txBox="1"/>
          <p:nvPr/>
        </p:nvSpPr>
        <p:spPr>
          <a:xfrm>
            <a:off x="4316465" y="5220167"/>
            <a:ext cx="1634925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XXX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34C68F0-734D-4843-95AF-CBE49D383961}"/>
              </a:ext>
            </a:extLst>
          </p:cNvPr>
          <p:cNvSpPr txBox="1"/>
          <p:nvPr/>
        </p:nvSpPr>
        <p:spPr>
          <a:xfrm>
            <a:off x="554360" y="1293241"/>
            <a:ext cx="512217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Context of the relevance of sales forecasting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BB7572D-941E-46C3-9CA4-97A3F87840B0}"/>
              </a:ext>
            </a:extLst>
          </p:cNvPr>
          <p:cNvCxnSpPr>
            <a:cxnSpLocks/>
          </p:cNvCxnSpPr>
          <p:nvPr/>
        </p:nvCxnSpPr>
        <p:spPr>
          <a:xfrm>
            <a:off x="554736" y="1594604"/>
            <a:ext cx="11116926" cy="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1D331A53-DE3F-4FBE-9D4B-8FED864225BD}"/>
              </a:ext>
            </a:extLst>
          </p:cNvPr>
          <p:cNvCxnSpPr>
            <a:cxnSpLocks/>
          </p:cNvCxnSpPr>
          <p:nvPr/>
        </p:nvCxnSpPr>
        <p:spPr>
          <a:xfrm>
            <a:off x="6333965" y="1703389"/>
            <a:ext cx="0" cy="3965809"/>
          </a:xfrm>
          <a:prstGeom prst="line">
            <a:avLst/>
          </a:prstGeom>
          <a:ln w="1270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ChevronBlue 14">
            <a:extLst>
              <a:ext uri="{FF2B5EF4-FFF2-40B4-BE49-F238E27FC236}">
                <a16:creationId xmlns:a16="http://schemas.microsoft.com/office/drawing/2014/main" id="{3C1767A0-4280-4066-8394-51E4C135F299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111262" y="3423639"/>
            <a:ext cx="433381" cy="433381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ECDBBF81-591A-4169-AB7D-C65E600E2BF4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135F8ECE-19D1-48EA-B9C6-021AB7CF42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id="{ABB14BD1-1D27-448C-A00B-0697B26464AE}"/>
              </a:ext>
            </a:extLst>
          </p:cNvPr>
          <p:cNvSpPr txBox="1"/>
          <p:nvPr/>
        </p:nvSpPr>
        <p:spPr>
          <a:xfrm>
            <a:off x="6660648" y="1948599"/>
            <a:ext cx="2241966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The objective of our study is to forecast sales at a brand-month-region level…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5F6F426-F580-4411-9A1C-399799AA80A7}"/>
              </a:ext>
            </a:extLst>
          </p:cNvPr>
          <p:cNvGrpSpPr/>
          <p:nvPr/>
        </p:nvGrpSpPr>
        <p:grpSpPr>
          <a:xfrm>
            <a:off x="10267802" y="2002011"/>
            <a:ext cx="1272184" cy="523221"/>
            <a:chOff x="3528152" y="2187167"/>
            <a:chExt cx="1272184" cy="523221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8138525E-E4CD-4730-A19D-1668B27AD818}"/>
                </a:ext>
              </a:extLst>
            </p:cNvPr>
            <p:cNvSpPr txBox="1"/>
            <p:nvPr/>
          </p:nvSpPr>
          <p:spPr>
            <a:xfrm>
              <a:off x="3931008" y="2187167"/>
              <a:ext cx="466474" cy="36933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201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4721097B-1EE1-4528-BDDA-810CE9CE936B}"/>
                </a:ext>
              </a:extLst>
            </p:cNvPr>
            <p:cNvSpPr txBox="1"/>
            <p:nvPr/>
          </p:nvSpPr>
          <p:spPr>
            <a:xfrm>
              <a:off x="3528152" y="2556500"/>
              <a:ext cx="1272184" cy="15388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Region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281589D-2A12-4542-B76B-49EE1759A67A}"/>
              </a:ext>
            </a:extLst>
          </p:cNvPr>
          <p:cNvGrpSpPr/>
          <p:nvPr/>
        </p:nvGrpSpPr>
        <p:grpSpPr>
          <a:xfrm>
            <a:off x="8930522" y="2002011"/>
            <a:ext cx="1043584" cy="523221"/>
            <a:chOff x="8930522" y="2304544"/>
            <a:chExt cx="1043584" cy="523221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39685C9F-1939-4FB1-9510-B2AE0A6F8466}"/>
                </a:ext>
              </a:extLst>
            </p:cNvPr>
            <p:cNvSpPr txBox="1"/>
            <p:nvPr/>
          </p:nvSpPr>
          <p:spPr>
            <a:xfrm>
              <a:off x="9197436" y="2304544"/>
              <a:ext cx="509755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2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AE4FBC2B-89F1-4DDD-8073-A0CF097FA462}"/>
                </a:ext>
              </a:extLst>
            </p:cNvPr>
            <p:cNvSpPr txBox="1"/>
            <p:nvPr/>
          </p:nvSpPr>
          <p:spPr>
            <a:xfrm>
              <a:off x="8930522" y="2673877"/>
              <a:ext cx="1043584" cy="15388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>
                  <a:solidFill>
                    <a:schemeClr val="tx1">
                      <a:lumMod val="50000"/>
                    </a:schemeClr>
                  </a:solidFill>
                </a:rPr>
                <a:t>Brands</a:t>
              </a:r>
              <a:endPara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20327489-B408-4B53-AD70-FEEF0CB9C0F3}"/>
              </a:ext>
            </a:extLst>
          </p:cNvPr>
          <p:cNvSpPr txBox="1"/>
          <p:nvPr/>
        </p:nvSpPr>
        <p:spPr>
          <a:xfrm>
            <a:off x="6626289" y="1295418"/>
            <a:ext cx="512217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Objectives of the challeng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D5F8FD5-58C7-4F4C-8C36-FB344C0753BC}"/>
              </a:ext>
            </a:extLst>
          </p:cNvPr>
          <p:cNvGrpSpPr/>
          <p:nvPr/>
        </p:nvGrpSpPr>
        <p:grpSpPr>
          <a:xfrm>
            <a:off x="6623377" y="3125123"/>
            <a:ext cx="5042874" cy="1174143"/>
            <a:chOff x="6620463" y="3052526"/>
            <a:chExt cx="5126067" cy="1174143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AA9FE358-F1E7-4995-B86D-E76296ECA87A}"/>
                </a:ext>
              </a:extLst>
            </p:cNvPr>
            <p:cNvSpPr/>
            <p:nvPr/>
          </p:nvSpPr>
          <p:spPr>
            <a:xfrm>
              <a:off x="6625957" y="3052526"/>
              <a:ext cx="5120573" cy="1169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800">
                <a:solidFill>
                  <a:schemeClr val="tx1"/>
                </a:solidFill>
              </a:endParaRPr>
            </a:p>
          </p:txBody>
        </p: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58EDAD4A-56B5-4C06-BE42-9EBE3B03D313}"/>
                </a:ext>
              </a:extLst>
            </p:cNvPr>
            <p:cNvCxnSpPr>
              <a:cxnSpLocks/>
            </p:cNvCxnSpPr>
            <p:nvPr/>
          </p:nvCxnSpPr>
          <p:spPr>
            <a:xfrm>
              <a:off x="6620463" y="4226669"/>
              <a:ext cx="5126067" cy="0"/>
            </a:xfrm>
            <a:prstGeom prst="line">
              <a:avLst/>
            </a:prstGeom>
            <a:ln w="25400" cap="flat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E0BA4AB-7ECB-4D78-B4D2-77997D0A84A5}"/>
              </a:ext>
            </a:extLst>
          </p:cNvPr>
          <p:cNvGrpSpPr/>
          <p:nvPr/>
        </p:nvGrpSpPr>
        <p:grpSpPr>
          <a:xfrm>
            <a:off x="6623377" y="4501297"/>
            <a:ext cx="5037470" cy="1174143"/>
            <a:chOff x="6620463" y="4501297"/>
            <a:chExt cx="5126067" cy="1174143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F3F2628C-F701-4791-841B-987A2A5F2C79}"/>
                </a:ext>
              </a:extLst>
            </p:cNvPr>
            <p:cNvSpPr/>
            <p:nvPr/>
          </p:nvSpPr>
          <p:spPr>
            <a:xfrm>
              <a:off x="6625957" y="4501297"/>
              <a:ext cx="5120573" cy="1169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800">
                <a:solidFill>
                  <a:schemeClr val="tx1"/>
                </a:solidFill>
              </a:endParaRP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354BC778-361A-4A46-A965-84090DE86517}"/>
                </a:ext>
              </a:extLst>
            </p:cNvPr>
            <p:cNvCxnSpPr>
              <a:cxnSpLocks/>
            </p:cNvCxnSpPr>
            <p:nvPr/>
          </p:nvCxnSpPr>
          <p:spPr>
            <a:xfrm>
              <a:off x="6620463" y="5675440"/>
              <a:ext cx="5126067" cy="0"/>
            </a:xfrm>
            <a:prstGeom prst="line">
              <a:avLst/>
            </a:prstGeom>
            <a:ln w="25400" cap="flat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8" name="TextBox 117">
            <a:extLst>
              <a:ext uri="{FF2B5EF4-FFF2-40B4-BE49-F238E27FC236}">
                <a16:creationId xmlns:a16="http://schemas.microsoft.com/office/drawing/2014/main" id="{CD16AA7E-D4A6-464F-9535-A6F559D18110}"/>
              </a:ext>
            </a:extLst>
          </p:cNvPr>
          <p:cNvSpPr txBox="1"/>
          <p:nvPr/>
        </p:nvSpPr>
        <p:spPr>
          <a:xfrm>
            <a:off x="6660648" y="3328221"/>
            <a:ext cx="2155574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with the objective to minimize two key metrics…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69CF5DF1-730B-4D4F-9605-A53AC54F2D07}"/>
              </a:ext>
            </a:extLst>
          </p:cNvPr>
          <p:cNvSpPr txBox="1"/>
          <p:nvPr/>
        </p:nvSpPr>
        <p:spPr>
          <a:xfrm>
            <a:off x="6664838" y="4795424"/>
            <a:ext cx="2155574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in order to fuel key business decisions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65FAC9A-42F9-4507-8C59-4C9E26BADAF3}"/>
              </a:ext>
            </a:extLst>
          </p:cNvPr>
          <p:cNvGrpSpPr/>
          <p:nvPr/>
        </p:nvGrpSpPr>
        <p:grpSpPr>
          <a:xfrm>
            <a:off x="10273103" y="3421681"/>
            <a:ext cx="1272184" cy="677110"/>
            <a:chOff x="3528152" y="2187167"/>
            <a:chExt cx="1272184" cy="677110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41120B60-F9F1-4791-A257-C6FF81D1F19E}"/>
                </a:ext>
              </a:extLst>
            </p:cNvPr>
            <p:cNvSpPr txBox="1"/>
            <p:nvPr/>
          </p:nvSpPr>
          <p:spPr>
            <a:xfrm>
              <a:off x="3909367" y="2187167"/>
              <a:ext cx="509755" cy="36933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XXX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73F457B9-E141-4A96-876A-8D9595CEEAB4}"/>
                </a:ext>
              </a:extLst>
            </p:cNvPr>
            <p:cNvSpPr txBox="1"/>
            <p:nvPr/>
          </p:nvSpPr>
          <p:spPr>
            <a:xfrm>
              <a:off x="3528152" y="2556500"/>
              <a:ext cx="1272184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Confidence interval metric</a:t>
              </a: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27FFF191-EF6A-4D62-A012-389994BCEC05}"/>
              </a:ext>
            </a:extLst>
          </p:cNvPr>
          <p:cNvGrpSpPr/>
          <p:nvPr/>
        </p:nvGrpSpPr>
        <p:grpSpPr>
          <a:xfrm>
            <a:off x="8935823" y="3421681"/>
            <a:ext cx="1043584" cy="523221"/>
            <a:chOff x="8930522" y="2304544"/>
            <a:chExt cx="1043584" cy="523221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B2C93CB4-19A6-4526-AC17-F0FFE45C5F18}"/>
                </a:ext>
              </a:extLst>
            </p:cNvPr>
            <p:cNvSpPr txBox="1"/>
            <p:nvPr/>
          </p:nvSpPr>
          <p:spPr>
            <a:xfrm>
              <a:off x="9197436" y="2304544"/>
              <a:ext cx="509755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XXX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BDC55CA0-19A8-4372-8703-DBBDE20D20B1}"/>
                </a:ext>
              </a:extLst>
            </p:cNvPr>
            <p:cNvSpPr txBox="1"/>
            <p:nvPr/>
          </p:nvSpPr>
          <p:spPr>
            <a:xfrm>
              <a:off x="8930522" y="2673877"/>
              <a:ext cx="1043584" cy="15388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>
                  <a:solidFill>
                    <a:schemeClr val="tx1">
                      <a:lumMod val="50000"/>
                    </a:schemeClr>
                  </a:solidFill>
                </a:rPr>
                <a:t>Accuracy metric</a:t>
              </a:r>
              <a:endPara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27" name="TextBox 126">
            <a:extLst>
              <a:ext uri="{FF2B5EF4-FFF2-40B4-BE49-F238E27FC236}">
                <a16:creationId xmlns:a16="http://schemas.microsoft.com/office/drawing/2014/main" id="{220E7ABA-F383-4456-8E07-B8F42B7373D4}"/>
              </a:ext>
            </a:extLst>
          </p:cNvPr>
          <p:cNvSpPr txBox="1"/>
          <p:nvPr/>
        </p:nvSpPr>
        <p:spPr>
          <a:xfrm>
            <a:off x="10649017" y="4700105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XXX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03DF2316-193C-4D77-AD88-AFC175EDD837}"/>
              </a:ext>
            </a:extLst>
          </p:cNvPr>
          <p:cNvSpPr txBox="1"/>
          <p:nvPr/>
        </p:nvSpPr>
        <p:spPr>
          <a:xfrm>
            <a:off x="9197436" y="4700105"/>
            <a:ext cx="509755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XXX</a:t>
            </a:r>
          </a:p>
        </p:txBody>
      </p:sp>
      <p:pic>
        <p:nvPicPr>
          <p:cNvPr id="10" name="Graphic 9" descr="Advertising with solid fill">
            <a:extLst>
              <a:ext uri="{FF2B5EF4-FFF2-40B4-BE49-F238E27FC236}">
                <a16:creationId xmlns:a16="http://schemas.microsoft.com/office/drawing/2014/main" id="{1B4543D2-F27D-4254-A865-F53FAADEE09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1210" y="1168686"/>
            <a:ext cx="405311" cy="405311"/>
          </a:xfrm>
          <a:prstGeom prst="rect">
            <a:avLst/>
          </a:prstGeom>
        </p:spPr>
      </p:pic>
      <p:pic>
        <p:nvPicPr>
          <p:cNvPr id="12" name="Graphic 11" descr="Target with solid fill">
            <a:extLst>
              <a:ext uri="{FF2B5EF4-FFF2-40B4-BE49-F238E27FC236}">
                <a16:creationId xmlns:a16="http://schemas.microsoft.com/office/drawing/2014/main" id="{E8B180AE-5886-4CA1-A24C-80248E292E0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169568" y="1132973"/>
            <a:ext cx="467696" cy="467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726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18B454-4575-4D07-8836-EC13F70B7A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801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92" name="think-cell Slide" r:id="rId24" imgW="395" imgH="396" progId="TCLayout.ActiveDocument.1">
                  <p:embed/>
                </p:oleObj>
              </mc:Choice>
              <mc:Fallback>
                <p:oleObj name="think-cell Slide" r:id="rId2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>
            <a:extLst>
              <a:ext uri="{FF2B5EF4-FFF2-40B4-BE49-F238E27FC236}">
                <a16:creationId xmlns:a16="http://schemas.microsoft.com/office/drawing/2014/main" id="{917B70E7-0D22-4894-A441-5F19403C86B5}"/>
              </a:ext>
            </a:extLst>
          </p:cNvPr>
          <p:cNvSpPr/>
          <p:nvPr/>
        </p:nvSpPr>
        <p:spPr>
          <a:xfrm>
            <a:off x="7348557" y="1507549"/>
            <a:ext cx="3967337" cy="44050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A9BAB442-1917-4A39-A2DC-318B4490179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80395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B: We have followed a 5-step approach to solve the sales forecasting challenge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3E479CEE-46D9-4D50-858C-5C343CC9AAB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516" y="914400"/>
            <a:ext cx="1001754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s-ES" sz="1800" b="0" kern="1200" dirty="0">
                <a:solidFill>
                  <a:schemeClr val="accent4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tail of the steps followed</a:t>
            </a:r>
            <a:r>
              <a:rPr lang="en-US" dirty="0">
                <a:solidFill>
                  <a:srgbClr val="7F7F7F"/>
                </a:solidFill>
                <a:latin typeface="Arial"/>
              </a:rPr>
              <a:t> to solve the challeng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77995C-4AFA-4846-BD86-936449019CA0}"/>
              </a:ext>
            </a:extLst>
          </p:cNvPr>
          <p:cNvSpPr txBox="1">
            <a:spLocks/>
          </p:cNvSpPr>
          <p:nvPr/>
        </p:nvSpPr>
        <p:spPr>
          <a:xfrm>
            <a:off x="554736" y="2120900"/>
            <a:ext cx="921592" cy="1841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scrip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09D1787-2C4A-4616-997B-0FA11B493779}"/>
              </a:ext>
            </a:extLst>
          </p:cNvPr>
          <p:cNvSpPr txBox="1">
            <a:spLocks/>
          </p:cNvSpPr>
          <p:nvPr/>
        </p:nvSpPr>
        <p:spPr>
          <a:xfrm>
            <a:off x="554736" y="3851674"/>
            <a:ext cx="921592" cy="1841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utp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8809A0-7665-4116-9A82-E22F4AFA1708}"/>
              </a:ext>
            </a:extLst>
          </p:cNvPr>
          <p:cNvCxnSpPr>
            <a:cxnSpLocks/>
          </p:cNvCxnSpPr>
          <p:nvPr/>
        </p:nvCxnSpPr>
        <p:spPr>
          <a:xfrm>
            <a:off x="546269" y="3670699"/>
            <a:ext cx="1068119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  <a:tailEnd type="none"/>
          </a:ln>
          <a:effectLst/>
        </p:spPr>
      </p:cxnSp>
      <p:pic>
        <p:nvPicPr>
          <p:cNvPr id="9" name="Graphic 8" descr="Database">
            <a:extLst>
              <a:ext uri="{FF2B5EF4-FFF2-40B4-BE49-F238E27FC236}">
                <a16:creationId xmlns:a16="http://schemas.microsoft.com/office/drawing/2014/main" id="{BB0940E1-0E4F-4946-A155-0C72D3A7A64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631552" y="4044188"/>
            <a:ext cx="260732" cy="29442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2306C73-C5D4-47EB-A274-995862910F08}"/>
              </a:ext>
            </a:extLst>
          </p:cNvPr>
          <p:cNvSpPr txBox="1">
            <a:spLocks/>
          </p:cNvSpPr>
          <p:nvPr/>
        </p:nvSpPr>
        <p:spPr>
          <a:xfrm>
            <a:off x="3563642" y="2079625"/>
            <a:ext cx="1832382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xtracted XXX synthetic features from </a:t>
            </a:r>
            <a:r>
              <a:rPr lang="en-US" sz="1000" b="1" dirty="0">
                <a:latin typeface="Arial"/>
              </a:rPr>
              <a:t>XXX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ifferent data block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ich are related with the pharmaceutical sal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nalyzed descriptive relation between features and the target </a:t>
            </a:r>
            <a:r>
              <a:rPr lang="en-US" sz="1000" b="1" dirty="0">
                <a:latin typeface="Arial"/>
              </a:rPr>
              <a:t>being predicted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440F9C-D041-4DA0-A78D-CDCE6B62428D}"/>
              </a:ext>
            </a:extLst>
          </p:cNvPr>
          <p:cNvSpPr txBox="1">
            <a:spLocks/>
          </p:cNvSpPr>
          <p:nvPr/>
        </p:nvSpPr>
        <p:spPr>
          <a:xfrm>
            <a:off x="5516346" y="2079625"/>
            <a:ext cx="1794013" cy="12842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b="1" dirty="0">
                <a:latin typeface="Arial"/>
              </a:rPr>
              <a:t>Searched for the best model parameter configuration </a:t>
            </a:r>
            <a:r>
              <a:rPr lang="en-US" sz="1000" dirty="0">
                <a:latin typeface="Arial"/>
              </a:rPr>
              <a:t>using Bayesian Optimization with cross-valid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ined &gt;XXX machine learning models with the YYY variables to find a error-minimizing set of paramet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3A66E5-4C73-4BF8-977F-E6042A8BD744}"/>
              </a:ext>
            </a:extLst>
          </p:cNvPr>
          <p:cNvSpPr txBox="1">
            <a:spLocks/>
          </p:cNvSpPr>
          <p:nvPr/>
        </p:nvSpPr>
        <p:spPr>
          <a:xfrm>
            <a:off x="7433279" y="2079625"/>
            <a:ext cx="1792830" cy="1480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ined a Gradient Boosting Machin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 learn relations between the synthetic features created and the target to be predicted</a:t>
            </a:r>
          </a:p>
          <a:p>
            <a:pPr>
              <a:buClr>
                <a:srgbClr val="000000"/>
              </a:buClr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complished a strong predictive power </a:t>
            </a:r>
            <a:r>
              <a:rPr lang="en-US" sz="1000" b="1" dirty="0">
                <a:latin typeface="Arial"/>
              </a:rPr>
              <a:t>– mean absolute error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of XXX and a confidence metric of X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C40931F-C0E5-4457-B2A5-F097A189E14B}"/>
              </a:ext>
            </a:extLst>
          </p:cNvPr>
          <p:cNvSpPr txBox="1">
            <a:spLocks/>
          </p:cNvSpPr>
          <p:nvPr/>
        </p:nvSpPr>
        <p:spPr>
          <a:xfrm>
            <a:off x="3571397" y="4047945"/>
            <a:ext cx="161678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istorical data for every month-region-brand…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4EA58A5-440A-4F78-AA38-7C05F21D1DE5}"/>
              </a:ext>
            </a:extLst>
          </p:cNvPr>
          <p:cNvGrpSpPr/>
          <p:nvPr/>
        </p:nvGrpSpPr>
        <p:grpSpPr>
          <a:xfrm>
            <a:off x="554736" y="2417763"/>
            <a:ext cx="423134" cy="430213"/>
            <a:chOff x="278558" y="2789312"/>
            <a:chExt cx="524001" cy="532674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50D2AAE-2729-403E-844B-CC4DA7E62391}"/>
                </a:ext>
              </a:extLst>
            </p:cNvPr>
            <p:cNvSpPr/>
            <p:nvPr/>
          </p:nvSpPr>
          <p:spPr>
            <a:xfrm>
              <a:off x="573959" y="3093386"/>
              <a:ext cx="228600" cy="228600"/>
            </a:xfrm>
            <a:prstGeom prst="ellipse">
              <a:avLst/>
            </a:prstGeom>
            <a:solidFill>
              <a:srgbClr val="AAC47A">
                <a:alpha val="50000"/>
              </a:srgbClr>
            </a:solidFill>
            <a:ln w="6350" cap="sq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CustomIcon">
              <a:extLst>
                <a:ext uri="{FF2B5EF4-FFF2-40B4-BE49-F238E27FC236}">
                  <a16:creationId xmlns:a16="http://schemas.microsoft.com/office/drawing/2014/main" id="{D06429AF-43AC-4BE1-9622-505026591F0B}"/>
                </a:ext>
              </a:extLst>
            </p:cNvPr>
            <p:cNvPicPr>
              <a:picLocks/>
            </p:cNvPicPr>
            <p:nvPr>
              <p:custDataLst>
                <p:tags r:id="rId21"/>
              </p:custDataLst>
            </p:nvPr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278558" y="2789312"/>
              <a:ext cx="482726" cy="482726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50269A-631D-452E-BE6B-86FEE3211F05}"/>
              </a:ext>
            </a:extLst>
          </p:cNvPr>
          <p:cNvGrpSpPr/>
          <p:nvPr/>
        </p:nvGrpSpPr>
        <p:grpSpPr>
          <a:xfrm>
            <a:off x="554736" y="4183461"/>
            <a:ext cx="423135" cy="420688"/>
            <a:chOff x="278558" y="4067834"/>
            <a:chExt cx="524001" cy="5208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DE4619A-444D-4E82-AF5B-00D3605BB6C8}"/>
                </a:ext>
              </a:extLst>
            </p:cNvPr>
            <p:cNvSpPr/>
            <p:nvPr/>
          </p:nvSpPr>
          <p:spPr>
            <a:xfrm>
              <a:off x="573959" y="4360060"/>
              <a:ext cx="228600" cy="228600"/>
            </a:xfrm>
            <a:prstGeom prst="ellipse">
              <a:avLst/>
            </a:prstGeom>
            <a:solidFill>
              <a:srgbClr val="AAC47A">
                <a:alpha val="50000"/>
              </a:srgbClr>
            </a:solidFill>
            <a:ln w="6350" cap="sq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8195B165-1B74-4383-9E58-2C3DE75D145F}"/>
                </a:ext>
              </a:extLst>
            </p:cNvPr>
            <p:cNvPicPr>
              <a:picLocks/>
            </p:cNvPicPr>
            <p:nvPr>
              <p:custDataLst>
                <p:tags r:id="rId20"/>
              </p:custDataLst>
            </p:nvPr>
          </p:nvPicPr>
          <p:blipFill>
            <a:blip r:embed="rId30">
              <a:extLs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278558" y="4067834"/>
              <a:ext cx="482726" cy="482726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D57A109-06F6-4A66-BC81-0A5E7F678F94}"/>
              </a:ext>
            </a:extLst>
          </p:cNvPr>
          <p:cNvSpPr txBox="1">
            <a:spLocks/>
          </p:cNvSpPr>
          <p:nvPr/>
        </p:nvSpPr>
        <p:spPr>
          <a:xfrm>
            <a:off x="1657351" y="2079625"/>
            <a:ext cx="1792829" cy="146193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athered and cleansed XXX data sources from 2 brands and 201 reg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ownloaded external public data on monthly COVID cases, hospitalizations and deaths 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mplement the existing internal data and improve model accurac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00FB020-C490-4988-8BE9-CDE40966DF4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604136" y="1531939"/>
            <a:ext cx="1977264" cy="477838"/>
            <a:chOff x="1604136" y="1564887"/>
            <a:chExt cx="2550788" cy="759213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0450B75-7B3A-4CEF-BCED-5D61B6EA71C6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1604136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BDC2AE6-DA87-4693-85DD-1C6EA62AAFA1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1667636" y="1617610"/>
              <a:ext cx="2350630" cy="653767"/>
            </a:xfrm>
            <a:prstGeom prst="rect">
              <a:avLst/>
            </a:prstGeom>
            <a:solidFill>
              <a:srgbClr val="002060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Data gathering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BEB5D77-03E0-4ECF-AF81-B1D6FE926A2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524692" y="1531939"/>
            <a:ext cx="1977264" cy="477838"/>
            <a:chOff x="4093054" y="1564887"/>
            <a:chExt cx="2550788" cy="759213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0B902F9-8848-4E02-92E2-6A0267EEB649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9E761A9-AC59-4CD6-ADD1-C0FCC5DD0E3C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Feature extraction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5AD40B34-A461-4A80-B365-C20041F87842}"/>
              </a:ext>
            </a:extLst>
          </p:cNvPr>
          <p:cNvSpPr txBox="1">
            <a:spLocks/>
          </p:cNvSpPr>
          <p:nvPr/>
        </p:nvSpPr>
        <p:spPr>
          <a:xfrm>
            <a:off x="1675480" y="4096652"/>
            <a:ext cx="942975" cy="3079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ternal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ovarti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ata sourc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2262B93-E91F-4D91-B92A-5B7D42188B9F}"/>
              </a:ext>
            </a:extLst>
          </p:cNvPr>
          <p:cNvSpPr txBox="1">
            <a:spLocks/>
          </p:cNvSpPr>
          <p:nvPr/>
        </p:nvSpPr>
        <p:spPr>
          <a:xfrm>
            <a:off x="1669223" y="4790874"/>
            <a:ext cx="942975" cy="3079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xternal publicly available data</a:t>
            </a:r>
          </a:p>
        </p:txBody>
      </p:sp>
      <p:pic>
        <p:nvPicPr>
          <p:cNvPr id="38" name="Graphic 37" descr="Artificial Intelligence outline">
            <a:extLst>
              <a:ext uri="{FF2B5EF4-FFF2-40B4-BE49-F238E27FC236}">
                <a16:creationId xmlns:a16="http://schemas.microsoft.com/office/drawing/2014/main" id="{3B57E18A-24A0-491D-90A2-63B12FE8B856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392237" y="3729530"/>
            <a:ext cx="288000" cy="288000"/>
          </a:xfrm>
          <a:prstGeom prst="rect">
            <a:avLst/>
          </a:prstGeom>
        </p:spPr>
      </p:pic>
      <p:pic>
        <p:nvPicPr>
          <p:cNvPr id="39" name="Graphic 38" descr="Presentation with pie chart outline">
            <a:extLst>
              <a:ext uri="{FF2B5EF4-FFF2-40B4-BE49-F238E27FC236}">
                <a16:creationId xmlns:a16="http://schemas.microsoft.com/office/drawing/2014/main" id="{1A8F6DFE-A89F-407A-B23C-E0FBC6517BE5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9354942" y="3729530"/>
            <a:ext cx="288000" cy="2880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4B565224-398C-4EFC-AA3F-AEDC64419EAE}"/>
              </a:ext>
            </a:extLst>
          </p:cNvPr>
          <p:cNvSpPr txBox="1">
            <a:spLocks/>
          </p:cNvSpPr>
          <p:nvPr/>
        </p:nvSpPr>
        <p:spPr>
          <a:xfrm>
            <a:off x="1675480" y="3765949"/>
            <a:ext cx="190592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Data sources leverage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40B3A23-9AF8-4954-A8B3-7955F7598F7D}"/>
              </a:ext>
            </a:extLst>
          </p:cNvPr>
          <p:cNvSpPr txBox="1">
            <a:spLocks/>
          </p:cNvSpPr>
          <p:nvPr/>
        </p:nvSpPr>
        <p:spPr>
          <a:xfrm>
            <a:off x="3815900" y="3765949"/>
            <a:ext cx="190592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Data blocks extracted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0F36998-580B-4A65-8A68-DF21460E3B23}"/>
              </a:ext>
            </a:extLst>
          </p:cNvPr>
          <p:cNvSpPr txBox="1">
            <a:spLocks/>
          </p:cNvSpPr>
          <p:nvPr/>
        </p:nvSpPr>
        <p:spPr>
          <a:xfrm>
            <a:off x="7760172" y="3765949"/>
            <a:ext cx="1333673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Predictive power</a:t>
            </a:r>
          </a:p>
        </p:txBody>
      </p:sp>
      <p:pic>
        <p:nvPicPr>
          <p:cNvPr id="44" name="Graphic 43" descr="Puzzle pieces outline">
            <a:extLst>
              <a:ext uri="{FF2B5EF4-FFF2-40B4-BE49-F238E27FC236}">
                <a16:creationId xmlns:a16="http://schemas.microsoft.com/office/drawing/2014/main" id="{4B4BA0A6-D21D-4E14-A505-F53111593456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498897" y="3729530"/>
            <a:ext cx="288000" cy="2880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BAE27894-99E9-4B03-8823-8E64E373662A}"/>
              </a:ext>
            </a:extLst>
          </p:cNvPr>
          <p:cNvSpPr txBox="1">
            <a:spLocks/>
          </p:cNvSpPr>
          <p:nvPr/>
        </p:nvSpPr>
        <p:spPr>
          <a:xfrm>
            <a:off x="9722877" y="3765949"/>
            <a:ext cx="190592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Model results</a:t>
            </a:r>
          </a:p>
        </p:txBody>
      </p:sp>
      <p:pic>
        <p:nvPicPr>
          <p:cNvPr id="47" name="Graphic 46" descr="Download from cloud outline">
            <a:extLst>
              <a:ext uri="{FF2B5EF4-FFF2-40B4-BE49-F238E27FC236}">
                <a16:creationId xmlns:a16="http://schemas.microsoft.com/office/drawing/2014/main" id="{C52FE8B5-B8C5-4DF0-AD4C-C0E8D7967139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677499" y="4751935"/>
            <a:ext cx="216739" cy="216739"/>
          </a:xfrm>
          <a:prstGeom prst="rect">
            <a:avLst/>
          </a:prstGeom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D88B50CB-1760-4967-B964-36ADA6B21B9F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5445248" y="1531939"/>
            <a:ext cx="1977264" cy="477838"/>
            <a:chOff x="4093054" y="1564887"/>
            <a:chExt cx="2550788" cy="759213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E05416-18D5-4969-81B3-D29EFCB2E5C1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9218C49-1ACE-4CA3-B1E0-E9943C852293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arameter optimization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87DE7D0-84F3-44E3-AC62-B63370303D0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7354778" y="1531939"/>
            <a:ext cx="1977264" cy="477838"/>
            <a:chOff x="4093054" y="1564887"/>
            <a:chExt cx="2550788" cy="759213"/>
          </a:xfrm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85C238F-6870-4AED-B7B5-30F83699AA3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B378E840-E343-4F90-A92A-CC95B1E128B1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Model development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C330334-7488-4A24-BB82-7BF407D54B0A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9286360" y="1531939"/>
            <a:ext cx="1977264" cy="477838"/>
            <a:chOff x="4093054" y="1564887"/>
            <a:chExt cx="2550788" cy="759213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391681C-4AE5-49F6-BE0A-6AB2E2EFC387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C5A0066B-C590-41F4-963B-D8464628E076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Result analysis</a:t>
              </a: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078D1A20-A5DB-4DAE-B5F6-90A1303892ED}"/>
              </a:ext>
            </a:extLst>
          </p:cNvPr>
          <p:cNvSpPr txBox="1">
            <a:spLocks/>
          </p:cNvSpPr>
          <p:nvPr/>
        </p:nvSpPr>
        <p:spPr>
          <a:xfrm>
            <a:off x="9390139" y="2079625"/>
            <a:ext cx="1792830" cy="1000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trieved sales forecast and confidence intervals at a monthly-regional-brand lev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udied the regions of most certainty and heterogeneous goodness</a:t>
            </a:r>
            <a:r>
              <a:rPr lang="en-US" sz="1000" b="1" dirty="0">
                <a:latin typeface="Arial"/>
              </a:rPr>
              <a:t> of fit of the mod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64" name="Graphic 63" descr="Database">
            <a:extLst>
              <a:ext uri="{FF2B5EF4-FFF2-40B4-BE49-F238E27FC236}">
                <a16:creationId xmlns:a16="http://schemas.microsoft.com/office/drawing/2014/main" id="{C8FC9339-C2EF-41B1-83F5-1D2C0AABD05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823377" y="4151167"/>
            <a:ext cx="260732" cy="294421"/>
          </a:xfrm>
          <a:prstGeom prst="rect">
            <a:avLst/>
          </a:prstGeom>
        </p:spPr>
      </p:pic>
      <p:pic>
        <p:nvPicPr>
          <p:cNvPr id="65" name="Graphic 64" descr="Database">
            <a:extLst>
              <a:ext uri="{FF2B5EF4-FFF2-40B4-BE49-F238E27FC236}">
                <a16:creationId xmlns:a16="http://schemas.microsoft.com/office/drawing/2014/main" id="{2781CF12-5829-4EBD-9076-3AEF4FBFDDB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024138" y="4263787"/>
            <a:ext cx="260732" cy="294421"/>
          </a:xfrm>
          <a:prstGeom prst="rect">
            <a:avLst/>
          </a:prstGeom>
        </p:spPr>
      </p:pic>
      <p:pic>
        <p:nvPicPr>
          <p:cNvPr id="66" name="Graphic 65" descr="Download from cloud outline">
            <a:extLst>
              <a:ext uri="{FF2B5EF4-FFF2-40B4-BE49-F238E27FC236}">
                <a16:creationId xmlns:a16="http://schemas.microsoft.com/office/drawing/2014/main" id="{465E143D-C518-496E-B55F-59F4CAF3319E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861769" y="4895678"/>
            <a:ext cx="216739" cy="216739"/>
          </a:xfrm>
          <a:prstGeom prst="rect">
            <a:avLst/>
          </a:prstGeom>
        </p:spPr>
      </p:pic>
      <p:pic>
        <p:nvPicPr>
          <p:cNvPr id="67" name="Graphic 66" descr="Download from cloud outline">
            <a:extLst>
              <a:ext uri="{FF2B5EF4-FFF2-40B4-BE49-F238E27FC236}">
                <a16:creationId xmlns:a16="http://schemas.microsoft.com/office/drawing/2014/main" id="{FCCA4237-EBD3-437C-9358-ADABC64E84C0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077111" y="5032749"/>
            <a:ext cx="216739" cy="216739"/>
          </a:xfrm>
          <a:prstGeom prst="rect">
            <a:avLst/>
          </a:prstGeom>
        </p:spPr>
      </p:pic>
      <p:graphicFrame>
        <p:nvGraphicFramePr>
          <p:cNvPr id="68" name="Table 67">
            <a:extLst>
              <a:ext uri="{FF2B5EF4-FFF2-40B4-BE49-F238E27FC236}">
                <a16:creationId xmlns:a16="http://schemas.microsoft.com/office/drawing/2014/main" id="{3678DC48-6797-4922-82A6-46004A7FC5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9944414"/>
              </p:ext>
            </p:extLst>
          </p:nvPr>
        </p:nvGraphicFramePr>
        <p:xfrm>
          <a:off x="9343241" y="4151182"/>
          <a:ext cx="1884224" cy="1164590"/>
        </p:xfrm>
        <a:graphic>
          <a:graphicData uri="http://schemas.openxmlformats.org/drawingml/2006/table">
            <a:tbl>
              <a:tblPr/>
              <a:tblGrid>
                <a:gridCol w="331624">
                  <a:extLst>
                    <a:ext uri="{9D8B030D-6E8A-4147-A177-3AD203B41FA5}">
                      <a16:colId xmlns:a16="http://schemas.microsoft.com/office/drawing/2014/main" val="1866316475"/>
                    </a:ext>
                  </a:extLst>
                </a:gridCol>
                <a:gridCol w="354234">
                  <a:extLst>
                    <a:ext uri="{9D8B030D-6E8A-4147-A177-3AD203B41FA5}">
                      <a16:colId xmlns:a16="http://schemas.microsoft.com/office/drawing/2014/main" val="1230655028"/>
                    </a:ext>
                  </a:extLst>
                </a:gridCol>
                <a:gridCol w="331624">
                  <a:extLst>
                    <a:ext uri="{9D8B030D-6E8A-4147-A177-3AD203B41FA5}">
                      <a16:colId xmlns:a16="http://schemas.microsoft.com/office/drawing/2014/main" val="4250777795"/>
                    </a:ext>
                  </a:extLst>
                </a:gridCol>
                <a:gridCol w="354234">
                  <a:extLst>
                    <a:ext uri="{9D8B030D-6E8A-4147-A177-3AD203B41FA5}">
                      <a16:colId xmlns:a16="http://schemas.microsoft.com/office/drawing/2014/main" val="2242822548"/>
                    </a:ext>
                  </a:extLst>
                </a:gridCol>
                <a:gridCol w="256254">
                  <a:extLst>
                    <a:ext uri="{9D8B030D-6E8A-4147-A177-3AD203B41FA5}">
                      <a16:colId xmlns:a16="http://schemas.microsoft.com/office/drawing/2014/main" val="250607270"/>
                    </a:ext>
                  </a:extLst>
                </a:gridCol>
                <a:gridCol w="256254">
                  <a:extLst>
                    <a:ext uri="{9D8B030D-6E8A-4147-A177-3AD203B41FA5}">
                      <a16:colId xmlns:a16="http://schemas.microsoft.com/office/drawing/2014/main" val="634372920"/>
                    </a:ext>
                  </a:extLst>
                </a:gridCol>
              </a:tblGrid>
              <a:tr h="79554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ont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eg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Bran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orecas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e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ppe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7585994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,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C5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,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,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751307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,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,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,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283238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351163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5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056812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7B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776431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B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3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336663"/>
                  </a:ext>
                </a:extLst>
              </a:tr>
            </a:tbl>
          </a:graphicData>
        </a:graphic>
      </p:graphicFrame>
      <p:sp>
        <p:nvSpPr>
          <p:cNvPr id="69" name="TextBox 68">
            <a:extLst>
              <a:ext uri="{FF2B5EF4-FFF2-40B4-BE49-F238E27FC236}">
                <a16:creationId xmlns:a16="http://schemas.microsoft.com/office/drawing/2014/main" id="{371FE068-DC87-4742-B256-488E45C5679D}"/>
              </a:ext>
            </a:extLst>
          </p:cNvPr>
          <p:cNvSpPr txBox="1">
            <a:spLocks/>
          </p:cNvSpPr>
          <p:nvPr/>
        </p:nvSpPr>
        <p:spPr>
          <a:xfrm>
            <a:off x="5854252" y="3765899"/>
            <a:ext cx="190592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Parameter search</a:t>
            </a:r>
          </a:p>
        </p:txBody>
      </p:sp>
      <p:pic>
        <p:nvPicPr>
          <p:cNvPr id="73" name="Graphic 72" descr="Abacus outline">
            <a:extLst>
              <a:ext uri="{FF2B5EF4-FFF2-40B4-BE49-F238E27FC236}">
                <a16:creationId xmlns:a16="http://schemas.microsoft.com/office/drawing/2014/main" id="{81F4FB7E-D905-4BAE-A5CD-53E7552CDA9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5516346" y="3729530"/>
            <a:ext cx="288000" cy="288000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7E1FC4FE-0771-4D5A-94E0-6F5FB19FA95C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5721820" y="4151167"/>
            <a:ext cx="1257683" cy="961250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0DEBFFC1-7B05-4400-BF11-A4282156328E}"/>
              </a:ext>
            </a:extLst>
          </p:cNvPr>
          <p:cNvSpPr txBox="1">
            <a:spLocks/>
          </p:cNvSpPr>
          <p:nvPr/>
        </p:nvSpPr>
        <p:spPr>
          <a:xfrm>
            <a:off x="5854396" y="5172172"/>
            <a:ext cx="121754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ayesian parameter optimization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585397A-0285-400C-BD6D-15F282307319}"/>
              </a:ext>
            </a:extLst>
          </p:cNvPr>
          <p:cNvSpPr txBox="1"/>
          <p:nvPr/>
        </p:nvSpPr>
        <p:spPr>
          <a:xfrm>
            <a:off x="7926650" y="4103141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700F864-66D4-4955-A1DC-F7F0A65AA17F}"/>
              </a:ext>
            </a:extLst>
          </p:cNvPr>
          <p:cNvSpPr txBox="1"/>
          <p:nvPr/>
        </p:nvSpPr>
        <p:spPr>
          <a:xfrm>
            <a:off x="8112905" y="4445588"/>
            <a:ext cx="201979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XXX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6ED5EDF-5CDC-48F9-9A86-BB8B82337026}"/>
              </a:ext>
            </a:extLst>
          </p:cNvPr>
          <p:cNvSpPr txBox="1"/>
          <p:nvPr/>
        </p:nvSpPr>
        <p:spPr>
          <a:xfrm>
            <a:off x="7955355" y="4892733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7FA73E9-9FBA-4D26-8D64-C9AE8ED9E2EC}"/>
              </a:ext>
            </a:extLst>
          </p:cNvPr>
          <p:cNvSpPr txBox="1"/>
          <p:nvPr/>
        </p:nvSpPr>
        <p:spPr>
          <a:xfrm>
            <a:off x="8141610" y="5235180"/>
            <a:ext cx="201979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XXX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E3124DF-4DA8-46D0-A0F4-B468DCC9328E}"/>
              </a:ext>
            </a:extLst>
          </p:cNvPr>
          <p:cNvSpPr/>
          <p:nvPr/>
        </p:nvSpPr>
        <p:spPr>
          <a:xfrm>
            <a:off x="10274992" y="1046840"/>
            <a:ext cx="290609" cy="188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8A35ADC-F1E2-44C4-B19C-E0E6BEFF4E9D}"/>
              </a:ext>
            </a:extLst>
          </p:cNvPr>
          <p:cNvSpPr txBox="1">
            <a:spLocks/>
          </p:cNvSpPr>
          <p:nvPr/>
        </p:nvSpPr>
        <p:spPr>
          <a:xfrm>
            <a:off x="10627562" y="1054816"/>
            <a:ext cx="688332" cy="17244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tail next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BD3B348-E865-4241-BD4A-30B1B9DE0D91}"/>
              </a:ext>
            </a:extLst>
          </p:cNvPr>
          <p:cNvSpPr txBox="1">
            <a:spLocks/>
          </p:cNvSpPr>
          <p:nvPr/>
        </p:nvSpPr>
        <p:spPr>
          <a:xfrm>
            <a:off x="3563642" y="4927403"/>
            <a:ext cx="884703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X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X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XXX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7B9E4B5-7D4E-4725-B084-1E0CB8FF143C}"/>
              </a:ext>
            </a:extLst>
          </p:cNvPr>
          <p:cNvSpPr/>
          <p:nvPr/>
        </p:nvSpPr>
        <p:spPr>
          <a:xfrm>
            <a:off x="3803733" y="4435455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E874C33-77DD-40AE-8D94-05720AC441EE}"/>
              </a:ext>
            </a:extLst>
          </p:cNvPr>
          <p:cNvSpPr/>
          <p:nvPr/>
        </p:nvSpPr>
        <p:spPr>
          <a:xfrm>
            <a:off x="4021203" y="4435455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BB558DA-008B-49C9-A77E-04BE8C14B947}"/>
              </a:ext>
            </a:extLst>
          </p:cNvPr>
          <p:cNvSpPr/>
          <p:nvPr/>
        </p:nvSpPr>
        <p:spPr>
          <a:xfrm>
            <a:off x="4252725" y="4435455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46FDBF4-21CB-4CB2-9558-CF6B4AC25E28}"/>
              </a:ext>
            </a:extLst>
          </p:cNvPr>
          <p:cNvSpPr/>
          <p:nvPr/>
        </p:nvSpPr>
        <p:spPr>
          <a:xfrm>
            <a:off x="4480982" y="4435455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7C8C3B3-844C-43D4-A83A-E5C3C0893B71}"/>
              </a:ext>
            </a:extLst>
          </p:cNvPr>
          <p:cNvSpPr/>
          <p:nvPr/>
        </p:nvSpPr>
        <p:spPr>
          <a:xfrm>
            <a:off x="4705722" y="4445588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AE9C105E-8B9A-4BB0-A449-B438CA1903C2}"/>
              </a:ext>
            </a:extLst>
          </p:cNvPr>
          <p:cNvSpPr txBox="1">
            <a:spLocks/>
          </p:cNvSpPr>
          <p:nvPr/>
        </p:nvSpPr>
        <p:spPr>
          <a:xfrm>
            <a:off x="4586564" y="4922507"/>
            <a:ext cx="884703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X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X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950223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23B51-DCB6-4240-B0FE-D50EB1B1F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0665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40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9C981DA7-704F-4639-881D-4A38285484A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5" y="172212"/>
            <a:ext cx="9058391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C: We have trained an Advanced Analytics model to predict monthly brand sales at a regional level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1004D1C0-A5E9-4921-9A36-6E6054D6657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516" y="914400"/>
            <a:ext cx="1001754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s-ES" sz="1800" b="0" kern="1200" dirty="0">
                <a:solidFill>
                  <a:schemeClr val="accent4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tail of the forecasting model developed</a:t>
            </a:r>
          </a:p>
        </p:txBody>
      </p:sp>
    </p:spTree>
    <p:extLst>
      <p:ext uri="{BB962C8B-B14F-4D97-AF65-F5344CB8AC3E}">
        <p14:creationId xmlns:p14="http://schemas.microsoft.com/office/powerpoint/2010/main" val="13851855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23B51-DCB6-4240-B0FE-D50EB1B1F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9531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2" name="think-cell Slide" r:id="rId38" imgW="395" imgH="396" progId="TCLayout.ActiveDocument.1">
                  <p:embed/>
                </p:oleObj>
              </mc:Choice>
              <mc:Fallback>
                <p:oleObj name="think-cell Slide" r:id="rId38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323B51-DCB6-4240-B0FE-D50EB1B1F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9C981DA7-704F-4639-881D-4A38285484A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80395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C: We have analyzed the results of the model in detail to understand for which geographies we are more confident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1004D1C0-A5E9-4921-9A36-6E6054D6657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516" y="914400"/>
            <a:ext cx="1001754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s-ES" sz="1800" b="0" kern="1200" dirty="0">
                <a:solidFill>
                  <a:schemeClr val="accent4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 dirty="0">
                <a:solidFill>
                  <a:srgbClr val="7F7F7F"/>
                </a:solidFill>
                <a:latin typeface="Arial"/>
              </a:rPr>
              <a:t>Illustration of model predictions for selected region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093222-964B-419B-BC49-F924D8F8D180}"/>
              </a:ext>
            </a:extLst>
          </p:cNvPr>
          <p:cNvSpPr txBox="1">
            <a:spLocks/>
          </p:cNvSpPr>
          <p:nvPr/>
        </p:nvSpPr>
        <p:spPr>
          <a:xfrm>
            <a:off x="4576322" y="1626935"/>
            <a:ext cx="34718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ales forecasts for selected region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654F35C-9A05-4616-B70A-31045AA471A2}"/>
              </a:ext>
            </a:extLst>
          </p:cNvPr>
          <p:cNvCxnSpPr>
            <a:cxnSpLocks/>
          </p:cNvCxnSpPr>
          <p:nvPr/>
        </p:nvCxnSpPr>
        <p:spPr>
          <a:xfrm>
            <a:off x="4576322" y="1865864"/>
            <a:ext cx="4761353" cy="1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809AE2D6-6300-4C89-A20C-D8856814C05E}"/>
              </a:ext>
            </a:extLst>
          </p:cNvPr>
          <p:cNvSpPr/>
          <p:nvPr/>
        </p:nvSpPr>
        <p:spPr>
          <a:xfrm>
            <a:off x="540649" y="1837611"/>
            <a:ext cx="2314053" cy="3791906"/>
          </a:xfrm>
          <a:prstGeom prst="homePlate">
            <a:avLst>
              <a:gd name="adj" fmla="val 16171"/>
            </a:avLst>
          </a:prstGeom>
          <a:solidFill>
            <a:srgbClr val="C8C8C8">
              <a:lumMod val="40000"/>
              <a:lumOff val="6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09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C8C8C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EA837F8-9659-4258-B64B-669B3DF58111}"/>
              </a:ext>
            </a:extLst>
          </p:cNvPr>
          <p:cNvCxnSpPr>
            <a:cxnSpLocks/>
          </p:cNvCxnSpPr>
          <p:nvPr/>
        </p:nvCxnSpPr>
        <p:spPr>
          <a:xfrm>
            <a:off x="3149598" y="3173071"/>
            <a:ext cx="8499063" cy="0"/>
          </a:xfrm>
          <a:prstGeom prst="line">
            <a:avLst/>
          </a:prstGeom>
          <a:ln w="6350" cap="flat">
            <a:solidFill>
              <a:srgbClr val="1D5B2D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4BAB6D38-12F7-42CF-96AF-7C2A6F11FEA7}"/>
              </a:ext>
            </a:extLst>
          </p:cNvPr>
          <p:cNvSpPr txBox="1">
            <a:spLocks/>
          </p:cNvSpPr>
          <p:nvPr/>
        </p:nvSpPr>
        <p:spPr>
          <a:xfrm>
            <a:off x="3103726" y="1658185"/>
            <a:ext cx="906032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Region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C3E3A07B-1A4A-4B5A-87C8-FDE3B8410A58}"/>
              </a:ext>
            </a:extLst>
          </p:cNvPr>
          <p:cNvCxnSpPr>
            <a:cxnSpLocks/>
          </p:cNvCxnSpPr>
          <p:nvPr/>
        </p:nvCxnSpPr>
        <p:spPr>
          <a:xfrm>
            <a:off x="3103726" y="1870351"/>
            <a:ext cx="564595" cy="0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>
            <a:extLst>
              <a:ext uri="{FF2B5EF4-FFF2-40B4-BE49-F238E27FC236}">
                <a16:creationId xmlns:a16="http://schemas.microsoft.com/office/drawing/2014/main" id="{18803694-77A3-400B-84D2-EFB515D53C08}"/>
              </a:ext>
            </a:extLst>
          </p:cNvPr>
          <p:cNvSpPr txBox="1">
            <a:spLocks/>
          </p:cNvSpPr>
          <p:nvPr/>
        </p:nvSpPr>
        <p:spPr>
          <a:xfrm>
            <a:off x="3796543" y="1673225"/>
            <a:ext cx="906032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rand</a:t>
            </a: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5D39A86A-C80F-4418-A215-B05464F5D739}"/>
              </a:ext>
            </a:extLst>
          </p:cNvPr>
          <p:cNvCxnSpPr>
            <a:cxnSpLocks/>
            <a:endCxn id="91" idx="2"/>
          </p:cNvCxnSpPr>
          <p:nvPr/>
        </p:nvCxnSpPr>
        <p:spPr>
          <a:xfrm flipV="1">
            <a:off x="3796543" y="1857891"/>
            <a:ext cx="453016" cy="7974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CF0756AC-FBB7-473F-9FFA-BEA5822E0019}"/>
              </a:ext>
            </a:extLst>
          </p:cNvPr>
          <p:cNvSpPr txBox="1">
            <a:spLocks/>
          </p:cNvSpPr>
          <p:nvPr/>
        </p:nvSpPr>
        <p:spPr>
          <a:xfrm>
            <a:off x="3323930" y="2348623"/>
            <a:ext cx="344391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E6EBE3F-2F7B-49BF-B9C4-4EE6C2A85284}"/>
              </a:ext>
            </a:extLst>
          </p:cNvPr>
          <p:cNvSpPr txBox="1">
            <a:spLocks/>
          </p:cNvSpPr>
          <p:nvPr/>
        </p:nvSpPr>
        <p:spPr>
          <a:xfrm>
            <a:off x="4176565" y="2348623"/>
            <a:ext cx="344391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EA6BDF44-63D7-4EBF-9D75-6CA676FF90C4}"/>
              </a:ext>
            </a:extLst>
          </p:cNvPr>
          <p:cNvSpPr txBox="1">
            <a:spLocks/>
          </p:cNvSpPr>
          <p:nvPr/>
        </p:nvSpPr>
        <p:spPr>
          <a:xfrm>
            <a:off x="3323930" y="3614181"/>
            <a:ext cx="344391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CADE838-51C8-4BE2-BAF3-1A93FBDA9D97}"/>
              </a:ext>
            </a:extLst>
          </p:cNvPr>
          <p:cNvSpPr txBox="1">
            <a:spLocks/>
          </p:cNvSpPr>
          <p:nvPr/>
        </p:nvSpPr>
        <p:spPr>
          <a:xfrm>
            <a:off x="4176565" y="3614181"/>
            <a:ext cx="344391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2</a:t>
            </a:r>
          </a:p>
        </p:txBody>
      </p:sp>
      <p:graphicFrame>
        <p:nvGraphicFramePr>
          <p:cNvPr id="275" name="Chart 274">
            <a:extLst>
              <a:ext uri="{FF2B5EF4-FFF2-40B4-BE49-F238E27FC236}">
                <a16:creationId xmlns:a16="http://schemas.microsoft.com/office/drawing/2014/main" id="{6F0F158D-D693-450B-8BC3-619750BC866A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07062795"/>
              </p:ext>
            </p:extLst>
          </p:nvPr>
        </p:nvGraphicFramePr>
        <p:xfrm>
          <a:off x="4748213" y="1905000"/>
          <a:ext cx="4589462" cy="112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223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614863" y="2165350"/>
            <a:ext cx="130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378876F-1903-4F86-8CD7-FD90DC481A36}" type="datetime'''''''''''''''''''''''''60''''''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000" dirty="0"/>
          </a:p>
        </p:txBody>
      </p:sp>
      <p:sp>
        <p:nvSpPr>
          <p:cNvPr id="231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614863" y="1924051"/>
            <a:ext cx="130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C7F8B6C-A375-4605-BECE-DA4D767FA049}" type="datetime'''''8''0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000" dirty="0"/>
          </a:p>
        </p:txBody>
      </p:sp>
      <p:sp>
        <p:nvSpPr>
          <p:cNvPr id="139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679950" y="2886075"/>
            <a:ext cx="65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43A913D-1095-4C39-9BA3-6F7277F17FCA}" type="datetime'''''0'''''''''''''''''''''''''''''''''''''''''''''''''''">
              <a:rPr lang="en-US" altLang="en-US" sz="1000" smtClean="0"/>
              <a:pPr/>
              <a:t>0</a:t>
            </a:fld>
            <a:endParaRPr lang="en-US" sz="1000" dirty="0"/>
          </a:p>
        </p:txBody>
      </p:sp>
      <p:sp>
        <p:nvSpPr>
          <p:cNvPr id="183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316663" y="3005138"/>
            <a:ext cx="2063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C4E89B-D744-4761-B508-1E6DC2230FAB}" type="datetime'''''''''''''''''''''''N''''''''''''''''ov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en-US" sz="1000" dirty="0"/>
          </a:p>
        </p:txBody>
      </p:sp>
      <p:sp>
        <p:nvSpPr>
          <p:cNvPr id="185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559676" y="3005138"/>
            <a:ext cx="212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8C673D-E027-476D-B4C4-5980E5933415}" type="datetime'''''''''''''''''''Ma''''''r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en-US" sz="1000" dirty="0"/>
          </a:p>
        </p:txBody>
      </p:sp>
      <p:sp>
        <p:nvSpPr>
          <p:cNvPr id="184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969126" y="3005138"/>
            <a:ext cx="168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BD7D7-95A5-4A01-A0AB-AD04B3824A0E}" type="datetime'''''''''''''''''J''''''an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en-US" sz="1000" dirty="0"/>
          </a:p>
        </p:txBody>
      </p:sp>
      <p:sp>
        <p:nvSpPr>
          <p:cNvPr id="181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073651" y="3005138"/>
            <a:ext cx="136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E1B5BF-917D-430D-ACF5-6EC4E01C26B3}" type="datetime'''''''J''''''''''''''''''u''''''''''l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en-US" sz="1000" dirty="0"/>
          </a:p>
        </p:txBody>
      </p:sp>
      <p:sp>
        <p:nvSpPr>
          <p:cNvPr id="182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692775" y="3005138"/>
            <a:ext cx="188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E34F5D-02D3-458E-9615-897945635203}" type="datetime'''''''''''''''''''''''''Sep''''''''''''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en-US" sz="1000" dirty="0"/>
          </a:p>
        </p:txBody>
      </p:sp>
      <p:sp>
        <p:nvSpPr>
          <p:cNvPr id="203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896225" y="300513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05A54B-9CD9-4B0F-B9D0-FA1D59340BDE}" type="datetime'''''''''A''''''''''''''''''''''''p''''''''''''''''''''''r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en-US" sz="1000" dirty="0"/>
          </a:p>
        </p:txBody>
      </p:sp>
      <p:sp>
        <p:nvSpPr>
          <p:cNvPr id="186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186738" y="3005138"/>
            <a:ext cx="225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5BFF63-7C4F-4484-8417-80576CBACDAB}" type="datetime'''''''''''''M''''''''''''''''''a''''y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en-US" sz="1000" dirty="0"/>
          </a:p>
        </p:txBody>
      </p:sp>
      <p:sp>
        <p:nvSpPr>
          <p:cNvPr id="187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864601" y="3005138"/>
            <a:ext cx="136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3E028C-7981-4260-8331-70173B444A05}" type="datetime'''''''''''''''''''''''J''''''''''''''''''''''''''u''''''''''l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en-US" sz="1000" dirty="0"/>
          </a:p>
        </p:txBody>
      </p:sp>
      <p:sp>
        <p:nvSpPr>
          <p:cNvPr id="198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743450" y="3005138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85FFE9-6D79-4A9B-A10A-E4914CB2C2B1}" type="datetime'''''''''''''''''''''''''J''''''u''''''''''''''n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en-US" sz="1000" dirty="0"/>
          </a:p>
        </p:txBody>
      </p:sp>
      <p:sp>
        <p:nvSpPr>
          <p:cNvPr id="199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364163" y="3005138"/>
            <a:ext cx="2000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144FDB-E84F-4309-AF3B-8E9980BE3293}" type="datetime'''A''''''''''''''''u''''''''''''''''''''''''''''''''''''g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en-US" sz="1000" dirty="0"/>
          </a:p>
        </p:txBody>
      </p:sp>
      <p:sp>
        <p:nvSpPr>
          <p:cNvPr id="200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007100" y="3005138"/>
            <a:ext cx="1809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0E1D05-3A85-49E8-8BA4-DDA446F1E226}" type="datetime'''O''''c''''''''t''''''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en-US" sz="1000" dirty="0"/>
          </a:p>
        </p:txBody>
      </p:sp>
      <p:sp>
        <p:nvSpPr>
          <p:cNvPr id="201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634163" y="3005138"/>
            <a:ext cx="195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97D0EE-AFCA-4971-A4BC-E5692D3D99CE}" type="datetime'''''''''''''''''''''D''''''''''''''''''''e''''''''''''c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en-US" sz="1000" dirty="0"/>
          </a:p>
        </p:txBody>
      </p:sp>
      <p:sp>
        <p:nvSpPr>
          <p:cNvPr id="202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281863" y="3005138"/>
            <a:ext cx="188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16E2AA-4829-4EB3-8F43-D3965C603ADB}" type="datetime'''''''''''''''''''''Fe''b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en-US" sz="1000" dirty="0"/>
          </a:p>
        </p:txBody>
      </p:sp>
      <p:sp>
        <p:nvSpPr>
          <p:cNvPr id="204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534400" y="3005138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FC410F-7430-43B9-B7C9-6F7533DC2ADA}" type="datetime'''''J''''''''''''''u''''''''''''n''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en-US" sz="1000" dirty="0"/>
          </a:p>
        </p:txBody>
      </p:sp>
      <p:sp>
        <p:nvSpPr>
          <p:cNvPr id="205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155113" y="3005138"/>
            <a:ext cx="2000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4BDB47-3BDB-4973-9643-AEC8CDFA7770}" type="datetime'''''''''''''''''''''''''A''''''''''''''u''''''g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en-US" sz="1000" dirty="0"/>
          </a:p>
        </p:txBody>
      </p:sp>
      <p:sp>
        <p:nvSpPr>
          <p:cNvPr id="221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14863" y="2646363"/>
            <a:ext cx="130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98DCEF-3ABB-4D8A-ACA5-06C2946C1413}" type="datetime'''2''''''''''''''''''''''''''''''''''''''''''''''''''''0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/>
          </a:p>
        </p:txBody>
      </p:sp>
      <p:sp>
        <p:nvSpPr>
          <p:cNvPr id="222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614863" y="2405063"/>
            <a:ext cx="130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75C9987-C76C-469E-9161-E3E91962F666}" type="datetime'''''''''4''''''''0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000" dirty="0"/>
          </a:p>
        </p:txBody>
      </p: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C263EDA7-34CD-4941-A29C-CA5886526C7F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8855075" y="1682750"/>
            <a:ext cx="112713" cy="0"/>
          </a:xfrm>
          <a:prstGeom prst="line">
            <a:avLst/>
          </a:prstGeom>
          <a:ln w="2540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8B3EC1BD-EC37-4A86-99DE-1566C0C6E83B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7789863" y="1485900"/>
            <a:ext cx="112713" cy="0"/>
          </a:xfrm>
          <a:prstGeom prst="line">
            <a:avLst/>
          </a:prstGeom>
          <a:ln w="254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0326D4C3-E008-4241-9953-192510734C3D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7789863" y="1682750"/>
            <a:ext cx="112713" cy="0"/>
          </a:xfrm>
          <a:prstGeom prst="line">
            <a:avLst/>
          </a:prstGeom>
          <a:ln w="2540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93833DFF-B8C0-43C2-85CF-A153613E4C3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8855075" y="1485900"/>
            <a:ext cx="112713" cy="0"/>
          </a:xfrm>
          <a:prstGeom prst="line">
            <a:avLst/>
          </a:prstGeom>
          <a:ln w="2540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8" name="Marcador de texto 2">
            <a:extLst>
              <a:ext uri="{FF2B5EF4-FFF2-40B4-BE49-F238E27FC236}">
                <a16:creationId xmlns:a16="http://schemas.microsoft.com/office/drawing/2014/main" id="{9FEB6596-11E8-4CFE-8064-7D439FFEDFD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031288" y="1427163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7C8835-8E31-44FC-95AB-C5E957B598F1}" type="datetime'''''''''''''''''''2''''''''''''0''''''''''''''''''%'''''''''''">
              <a:rPr lang="en-US" altLang="en-US" sz="1000" smtClean="0"/>
              <a:pPr/>
              <a:t>20%</a:t>
            </a:fld>
            <a:endParaRPr lang="en-US" sz="1000" dirty="0"/>
          </a:p>
        </p:txBody>
      </p:sp>
      <p:sp>
        <p:nvSpPr>
          <p:cNvPr id="134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966075" y="1427163"/>
            <a:ext cx="604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567170F-0DB2-479B-8879-1EA06B8D380C}" type="datetime'''''A''c''''''t''''ua''l'''''''''''''''' sal''''es'''''''">
              <a:rPr lang="en-US" altLang="en-US" sz="1000" smtClean="0"/>
              <a:pPr/>
              <a:t>Actual sales</a:t>
            </a:fld>
            <a:endParaRPr lang="en-US" sz="1000" dirty="0"/>
          </a:p>
        </p:txBody>
      </p:sp>
      <p:sp>
        <p:nvSpPr>
          <p:cNvPr id="135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966075" y="1624013"/>
            <a:ext cx="774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75B2F1-F211-4F36-9B99-0B854E6F2C6A}" type="datetime'''''P''''''re''''''d''ic''t''''''e''d s''a''''''l''es'''''''">
              <a:rPr lang="en-US" altLang="en-US" sz="1000" smtClean="0"/>
              <a:pPr/>
              <a:t>Predicted sales</a:t>
            </a:fld>
            <a:endParaRPr lang="en-US" sz="1000" dirty="0"/>
          </a:p>
        </p:txBody>
      </p:sp>
      <p:sp>
        <p:nvSpPr>
          <p:cNvPr id="219" name="Marcador de texto 2">
            <a:extLst>
              <a:ext uri="{FF2B5EF4-FFF2-40B4-BE49-F238E27FC236}">
                <a16:creationId xmlns:a16="http://schemas.microsoft.com/office/drawing/2014/main" id="{AEB8A741-FAF2-4395-A49B-2C31174FA70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031288" y="1624013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BEEB23-70C5-46C9-AEC8-5D9B5201E882}" type="datetime'''''''''''''''''''''8''''''''''''''''''''0''''''''''''%'''''''">
              <a:rPr lang="en-US" altLang="en-US" sz="1000" smtClean="0"/>
              <a:pPr/>
              <a:t>80%</a:t>
            </a:fld>
            <a:endParaRPr lang="en-US" sz="1000" dirty="0"/>
          </a:p>
        </p:txBody>
      </p:sp>
      <p:grpSp>
        <p:nvGrpSpPr>
          <p:cNvPr id="260" name="ChevronBlue 14">
            <a:extLst>
              <a:ext uri="{FF2B5EF4-FFF2-40B4-BE49-F238E27FC236}">
                <a16:creationId xmlns:a16="http://schemas.microsoft.com/office/drawing/2014/main" id="{D106EC8E-1930-4904-BF3D-504C2CDCF874}"/>
              </a:ext>
            </a:extLst>
          </p:cNvPr>
          <p:cNvGrpSpPr>
            <a:grpSpLocks noChangeAspect="1"/>
          </p:cNvGrpSpPr>
          <p:nvPr>
            <p:custDataLst>
              <p:tags r:id="rId34"/>
            </p:custDataLst>
          </p:nvPr>
        </p:nvGrpSpPr>
        <p:grpSpPr>
          <a:xfrm>
            <a:off x="9605190" y="2339974"/>
            <a:ext cx="257175" cy="257175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261" name="Oval 260">
              <a:extLst>
                <a:ext uri="{FF2B5EF4-FFF2-40B4-BE49-F238E27FC236}">
                  <a16:creationId xmlns:a16="http://schemas.microsoft.com/office/drawing/2014/main" id="{86852CE8-8C93-4EA7-8BA3-C2311C5F6838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262" name="Graphic 261">
              <a:extLst>
                <a:ext uri="{FF2B5EF4-FFF2-40B4-BE49-F238E27FC236}">
                  <a16:creationId xmlns:a16="http://schemas.microsoft.com/office/drawing/2014/main" id="{60FDB37E-61DC-45C4-B9D6-79D1153113DC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263" name="Arrow: Pentagon 262">
            <a:extLst>
              <a:ext uri="{FF2B5EF4-FFF2-40B4-BE49-F238E27FC236}">
                <a16:creationId xmlns:a16="http://schemas.microsoft.com/office/drawing/2014/main" id="{EADD2BE4-B9A1-4ABC-9523-C08BBA64631A}"/>
              </a:ext>
            </a:extLst>
          </p:cNvPr>
          <p:cNvSpPr/>
          <p:nvPr/>
        </p:nvSpPr>
        <p:spPr>
          <a:xfrm>
            <a:off x="10112416" y="1927955"/>
            <a:ext cx="1536245" cy="1145445"/>
          </a:xfrm>
          <a:prstGeom prst="homePlate">
            <a:avLst>
              <a:gd name="adj" fmla="val 0"/>
            </a:avLst>
          </a:prstGeom>
          <a:solidFill>
            <a:schemeClr val="bg1">
              <a:lumMod val="40000"/>
              <a:lumOff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i="1" dirty="0">
                <a:solidFill>
                  <a:srgbClr val="36672B"/>
                </a:solidFill>
                <a:latin typeface="Calibri" panose="020F0502020204030204"/>
              </a:rPr>
              <a:t>XXX</a:t>
            </a:r>
          </a:p>
        </p:txBody>
      </p:sp>
      <p:grpSp>
        <p:nvGrpSpPr>
          <p:cNvPr id="264" name="ChevronBlue 14">
            <a:extLst>
              <a:ext uri="{FF2B5EF4-FFF2-40B4-BE49-F238E27FC236}">
                <a16:creationId xmlns:a16="http://schemas.microsoft.com/office/drawing/2014/main" id="{8085D32C-9DF5-4FBA-929A-F9F339F619A9}"/>
              </a:ext>
            </a:extLst>
          </p:cNvPr>
          <p:cNvGrpSpPr>
            <a:grpSpLocks noChangeAspect="1"/>
          </p:cNvGrpSpPr>
          <p:nvPr>
            <p:custDataLst>
              <p:tags r:id="rId35"/>
            </p:custDataLst>
          </p:nvPr>
        </p:nvGrpSpPr>
        <p:grpSpPr>
          <a:xfrm>
            <a:off x="9605190" y="3705868"/>
            <a:ext cx="257175" cy="257175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265" name="Oval 264">
              <a:extLst>
                <a:ext uri="{FF2B5EF4-FFF2-40B4-BE49-F238E27FC236}">
                  <a16:creationId xmlns:a16="http://schemas.microsoft.com/office/drawing/2014/main" id="{65C5E5BA-72F0-4AA0-BA7A-5FA1FDD73450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266" name="Graphic 265">
              <a:extLst>
                <a:ext uri="{FF2B5EF4-FFF2-40B4-BE49-F238E27FC236}">
                  <a16:creationId xmlns:a16="http://schemas.microsoft.com/office/drawing/2014/main" id="{D1A99954-03CC-447E-BDAD-7F0FC49D7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7A54C00E-D670-4D48-B1D8-490CC534FCF0}"/>
              </a:ext>
            </a:extLst>
          </p:cNvPr>
          <p:cNvCxnSpPr>
            <a:cxnSpLocks/>
          </p:cNvCxnSpPr>
          <p:nvPr/>
        </p:nvCxnSpPr>
        <p:spPr>
          <a:xfrm>
            <a:off x="3179761" y="4470459"/>
            <a:ext cx="8468900" cy="0"/>
          </a:xfrm>
          <a:prstGeom prst="line">
            <a:avLst/>
          </a:prstGeom>
          <a:ln w="6350" cap="flat">
            <a:solidFill>
              <a:srgbClr val="1D5B2D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Arrow: Pentagon 269">
            <a:extLst>
              <a:ext uri="{FF2B5EF4-FFF2-40B4-BE49-F238E27FC236}">
                <a16:creationId xmlns:a16="http://schemas.microsoft.com/office/drawing/2014/main" id="{0E5FDB7F-5D26-40E1-ABFA-2FF8E419DE81}"/>
              </a:ext>
            </a:extLst>
          </p:cNvPr>
          <p:cNvSpPr/>
          <p:nvPr/>
        </p:nvSpPr>
        <p:spPr>
          <a:xfrm>
            <a:off x="10112416" y="3272743"/>
            <a:ext cx="1536245" cy="1145445"/>
          </a:xfrm>
          <a:prstGeom prst="homePlate">
            <a:avLst>
              <a:gd name="adj" fmla="val 0"/>
            </a:avLst>
          </a:prstGeom>
          <a:solidFill>
            <a:schemeClr val="bg1">
              <a:lumMod val="40000"/>
              <a:lumOff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i="1" dirty="0">
                <a:solidFill>
                  <a:srgbClr val="36672B"/>
                </a:solidFill>
                <a:latin typeface="Calibri" panose="020F0502020204030204"/>
              </a:rPr>
              <a:t>XXX</a:t>
            </a:r>
          </a:p>
        </p:txBody>
      </p:sp>
      <p:sp>
        <p:nvSpPr>
          <p:cNvPr id="271" name="Arrow: Pentagon 270">
            <a:extLst>
              <a:ext uri="{FF2B5EF4-FFF2-40B4-BE49-F238E27FC236}">
                <a16:creationId xmlns:a16="http://schemas.microsoft.com/office/drawing/2014/main" id="{1410F90E-AD70-472D-B241-4012686426BC}"/>
              </a:ext>
            </a:extLst>
          </p:cNvPr>
          <p:cNvSpPr/>
          <p:nvPr/>
        </p:nvSpPr>
        <p:spPr>
          <a:xfrm>
            <a:off x="10112416" y="4582021"/>
            <a:ext cx="1536245" cy="1145445"/>
          </a:xfrm>
          <a:prstGeom prst="homePlate">
            <a:avLst>
              <a:gd name="adj" fmla="val 0"/>
            </a:avLst>
          </a:prstGeom>
          <a:solidFill>
            <a:schemeClr val="bg1">
              <a:lumMod val="40000"/>
              <a:lumOff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i="1" dirty="0">
                <a:solidFill>
                  <a:srgbClr val="36672B"/>
                </a:solidFill>
                <a:latin typeface="Calibri" panose="020F0502020204030204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6823291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23B51-DCB6-4240-B0FE-D50EB1B1F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6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323B51-DCB6-4240-B0FE-D50EB1B1F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9C981DA7-704F-4639-881D-4A38285484A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80395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D: We have identified steps forward to enhance the study in order to better influence key business decisions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1004D1C0-A5E9-4921-9A36-6E6054D6657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516" y="914400"/>
            <a:ext cx="1001754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s-ES" sz="1800" b="0" kern="1200" dirty="0">
                <a:solidFill>
                  <a:schemeClr val="accent4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 dirty="0">
                <a:solidFill>
                  <a:srgbClr val="7F7F7F"/>
                </a:solidFill>
                <a:latin typeface="Arial"/>
              </a:rPr>
              <a:t>Detail of potential steps forwar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5FD6CE73-F793-4FFC-AF71-E4F83E36B6BA}"/>
              </a:ext>
            </a:extLst>
          </p:cNvPr>
          <p:cNvSpPr/>
          <p:nvPr/>
        </p:nvSpPr>
        <p:spPr>
          <a:xfrm>
            <a:off x="554351" y="1491885"/>
            <a:ext cx="6106095" cy="4576236"/>
          </a:xfrm>
          <a:prstGeom prst="homePlate">
            <a:avLst>
              <a:gd name="adj" fmla="val 0"/>
            </a:avLst>
          </a:prstGeom>
          <a:solidFill>
            <a:schemeClr val="bg1">
              <a:lumMod val="40000"/>
              <a:lumOff val="6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rgbClr val="C8C8C8"/>
              </a:solidFill>
              <a:latin typeface="Calibri" panose="020F050202020403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040284-1BFC-488E-9207-DABED6DFB518}"/>
              </a:ext>
            </a:extLst>
          </p:cNvPr>
          <p:cNvSpPr txBox="1">
            <a:spLocks/>
          </p:cNvSpPr>
          <p:nvPr/>
        </p:nvSpPr>
        <p:spPr>
          <a:xfrm>
            <a:off x="259516" y="1644463"/>
            <a:ext cx="3801365" cy="42009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pPr marL="466725"/>
            <a:r>
              <a:rPr lang="en-US" sz="1800" b="1" dirty="0">
                <a:solidFill>
                  <a:srgbClr val="00593F"/>
                </a:solidFill>
              </a:rPr>
              <a:t>An optimal intervention strategy based on 2 touchpoints…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3706AC-FBF7-4796-AE01-939F3ED7E564}"/>
              </a:ext>
            </a:extLst>
          </p:cNvPr>
          <p:cNvSpPr txBox="1"/>
          <p:nvPr/>
        </p:nvSpPr>
        <p:spPr>
          <a:xfrm>
            <a:off x="6982050" y="2334300"/>
            <a:ext cx="4103961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dirty="0">
                <a:solidFill>
                  <a:schemeClr val="bg1">
                    <a:lumMod val="50000"/>
                  </a:schemeClr>
                </a:solidFill>
              </a:rPr>
              <a:t>Our study is </a:t>
            </a:r>
            <a:r>
              <a:rPr lang="en-US" sz="1500" b="1" dirty="0">
                <a:solidFill>
                  <a:schemeClr val="accent2"/>
                </a:solidFill>
              </a:rPr>
              <a:t>not only a retrospective exercise</a:t>
            </a:r>
            <a:r>
              <a:rPr lang="en-US" sz="1500" dirty="0">
                <a:solidFill>
                  <a:schemeClr val="bg1">
                    <a:lumMod val="50000"/>
                  </a:schemeClr>
                </a:solidFill>
              </a:rPr>
              <a:t>, it can be </a:t>
            </a:r>
            <a:r>
              <a:rPr lang="en-US" sz="1500" b="1" dirty="0">
                <a:solidFill>
                  <a:schemeClr val="accent2"/>
                </a:solidFill>
              </a:rPr>
              <a:t>constantly updated to ensure an accurate optimal action path over time by: </a:t>
            </a:r>
            <a:endParaRPr lang="en-US" sz="15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2D5E19-BB0E-4405-90F7-EB7CE44E688E}"/>
              </a:ext>
            </a:extLst>
          </p:cNvPr>
          <p:cNvSpPr txBox="1">
            <a:spLocks/>
          </p:cNvSpPr>
          <p:nvPr/>
        </p:nvSpPr>
        <p:spPr>
          <a:xfrm>
            <a:off x="4608118" y="2545174"/>
            <a:ext cx="1828273" cy="13080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4000" b="1" dirty="0">
                <a:solidFill>
                  <a:schemeClr val="accent2"/>
                </a:solidFill>
              </a:rPr>
              <a:t>$41M </a:t>
            </a:r>
          </a:p>
          <a:p>
            <a:r>
              <a:rPr lang="en-US" sz="1500" dirty="0"/>
              <a:t>of risk captured with ~$22M in intervention cos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DA55E8-8D5D-430B-9A9C-EB8BFE58114E}"/>
              </a:ext>
            </a:extLst>
          </p:cNvPr>
          <p:cNvSpPr txBox="1">
            <a:spLocks/>
          </p:cNvSpPr>
          <p:nvPr/>
        </p:nvSpPr>
        <p:spPr>
          <a:xfrm>
            <a:off x="4608120" y="4240924"/>
            <a:ext cx="1956800" cy="13080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4000" b="1" dirty="0">
                <a:solidFill>
                  <a:schemeClr val="accent2"/>
                </a:solidFill>
              </a:rPr>
              <a:t>29.5 p.p.</a:t>
            </a:r>
            <a:br>
              <a:rPr lang="en-US" sz="4000" b="1" dirty="0">
                <a:solidFill>
                  <a:srgbClr val="00593F"/>
                </a:solidFill>
              </a:rPr>
            </a:br>
            <a:r>
              <a:rPr lang="en-US" sz="1500" dirty="0"/>
              <a:t>vaccination propensity increase for </a:t>
            </a:r>
            <a:r>
              <a:rPr lang="en-US" sz="1500" i="1" dirty="0"/>
              <a:t>Humana</a:t>
            </a:r>
            <a:r>
              <a:rPr lang="en-US" sz="1500" dirty="0"/>
              <a:t> memb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C456EA-45B4-4DCD-80AE-01F4AFFF51EA}"/>
              </a:ext>
            </a:extLst>
          </p:cNvPr>
          <p:cNvSpPr txBox="1">
            <a:spLocks/>
          </p:cNvSpPr>
          <p:nvPr/>
        </p:nvSpPr>
        <p:spPr>
          <a:xfrm>
            <a:off x="6515206" y="1602367"/>
            <a:ext cx="4692687" cy="42009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pPr marL="466725"/>
            <a:r>
              <a:rPr lang="en-US" sz="1800" b="1" dirty="0">
                <a:solidFill>
                  <a:srgbClr val="00593F"/>
                </a:solidFill>
              </a:rPr>
              <a:t>…and can be updated to ensure continuous success over time</a:t>
            </a:r>
          </a:p>
        </p:txBody>
      </p:sp>
      <p:pic>
        <p:nvPicPr>
          <p:cNvPr id="12" name="CustomIcon">
            <a:extLst>
              <a:ext uri="{FF2B5EF4-FFF2-40B4-BE49-F238E27FC236}">
                <a16:creationId xmlns:a16="http://schemas.microsoft.com/office/drawing/2014/main" id="{D5E38C52-69F6-46A6-A5E0-D7CA91149E24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49505" y="2563849"/>
            <a:ext cx="461042" cy="461042"/>
          </a:xfrm>
          <a:prstGeom prst="rect">
            <a:avLst/>
          </a:prstGeom>
        </p:spPr>
      </p:pic>
      <p:pic>
        <p:nvPicPr>
          <p:cNvPr id="13" name="CustomIcon">
            <a:extLst>
              <a:ext uri="{FF2B5EF4-FFF2-40B4-BE49-F238E27FC236}">
                <a16:creationId xmlns:a16="http://schemas.microsoft.com/office/drawing/2014/main" id="{4F912906-E0CA-425C-9F88-0EBE7080D1BB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49505" y="4090662"/>
            <a:ext cx="461042" cy="46104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C066EC1-C939-4A60-B40D-536CFAC9AC30}"/>
              </a:ext>
            </a:extLst>
          </p:cNvPr>
          <p:cNvSpPr txBox="1"/>
          <p:nvPr/>
        </p:nvSpPr>
        <p:spPr>
          <a:xfrm>
            <a:off x="1299900" y="2566316"/>
            <a:ext cx="2281942" cy="115416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General first touchpoint </a:t>
            </a:r>
            <a:r>
              <a:rPr lang="en-US" sz="1500" dirty="0"/>
              <a:t>with newsletter/ digital reminder to ensure </a:t>
            </a:r>
            <a:r>
              <a:rPr lang="en-US" sz="1500" b="1" dirty="0">
                <a:solidFill>
                  <a:schemeClr val="accent2"/>
                </a:solidFill>
              </a:rPr>
              <a:t>awareness of vaccination benefits </a:t>
            </a:r>
            <a:r>
              <a:rPr lang="en-US" sz="1500" dirty="0">
                <a:solidFill>
                  <a:schemeClr val="bg1">
                    <a:lumMod val="50000"/>
                  </a:schemeClr>
                </a:solidFill>
              </a:rPr>
              <a:t>– 100% of popul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47A7A2-0886-4590-80D2-B8C3333C286D}"/>
              </a:ext>
            </a:extLst>
          </p:cNvPr>
          <p:cNvSpPr txBox="1"/>
          <p:nvPr/>
        </p:nvSpPr>
        <p:spPr>
          <a:xfrm>
            <a:off x="1299900" y="4091673"/>
            <a:ext cx="2281933" cy="161582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Targeted second touchpoint </a:t>
            </a:r>
            <a:r>
              <a:rPr lang="en-US" sz="1500" dirty="0"/>
              <a:t>with cash disbursement/ doctor call/ discount on insurance to </a:t>
            </a:r>
            <a:r>
              <a:rPr lang="en-US" sz="1500" b="1" dirty="0">
                <a:solidFill>
                  <a:schemeClr val="accent2"/>
                </a:solidFill>
              </a:rPr>
              <a:t>ensure propensity increase after first touchpoint </a:t>
            </a:r>
            <a:r>
              <a:rPr lang="en-US" sz="1500" dirty="0">
                <a:solidFill>
                  <a:schemeClr val="bg1">
                    <a:lumMod val="50000"/>
                  </a:schemeClr>
                </a:solidFill>
              </a:rPr>
              <a:t>– 92% of population</a:t>
            </a:r>
            <a:endParaRPr lang="en-US" sz="1500" b="1" dirty="0">
              <a:solidFill>
                <a:schemeClr val="accent2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31045A2-4B08-4571-8E57-BB3E4F5F485C}"/>
              </a:ext>
            </a:extLst>
          </p:cNvPr>
          <p:cNvCxnSpPr>
            <a:cxnSpLocks/>
          </p:cNvCxnSpPr>
          <p:nvPr/>
        </p:nvCxnSpPr>
        <p:spPr>
          <a:xfrm>
            <a:off x="3817262" y="2536553"/>
            <a:ext cx="0" cy="3170947"/>
          </a:xfrm>
          <a:prstGeom prst="line">
            <a:avLst/>
          </a:prstGeom>
          <a:ln w="19050" cap="sq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CustomIcon">
            <a:extLst>
              <a:ext uri="{FF2B5EF4-FFF2-40B4-BE49-F238E27FC236}">
                <a16:creationId xmlns:a16="http://schemas.microsoft.com/office/drawing/2014/main" id="{AC67A2E9-8CE6-4EAF-A8BA-3C47A8885AEE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019949" y="2536553"/>
            <a:ext cx="461042" cy="461042"/>
          </a:xfrm>
          <a:prstGeom prst="rect">
            <a:avLst/>
          </a:prstGeom>
        </p:spPr>
      </p:pic>
      <p:pic>
        <p:nvPicPr>
          <p:cNvPr id="18" name="CustomIcon">
            <a:extLst>
              <a:ext uri="{FF2B5EF4-FFF2-40B4-BE49-F238E27FC236}">
                <a16:creationId xmlns:a16="http://schemas.microsoft.com/office/drawing/2014/main" id="{F9FB3F99-AEB4-4BD6-8C80-DA7371D700E7}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019949" y="4328676"/>
            <a:ext cx="461042" cy="461042"/>
          </a:xfrm>
          <a:prstGeom prst="rect">
            <a:avLst/>
          </a:prstGeom>
        </p:spPr>
      </p:pic>
      <p:grpSp>
        <p:nvGrpSpPr>
          <p:cNvPr id="19" name="CustomIcon">
            <a:extLst>
              <a:ext uri="{FF2B5EF4-FFF2-40B4-BE49-F238E27FC236}">
                <a16:creationId xmlns:a16="http://schemas.microsoft.com/office/drawing/2014/main" id="{724AF5D5-B4B9-421D-88F1-32ADAC92DE5F}"/>
              </a:ext>
            </a:extLst>
          </p:cNvPr>
          <p:cNvGrpSpPr>
            <a:grpSpLocks/>
          </p:cNvGrpSpPr>
          <p:nvPr>
            <p:custDataLst>
              <p:tags r:id="rId9"/>
            </p:custDataLst>
          </p:nvPr>
        </p:nvGrpSpPr>
        <p:grpSpPr>
          <a:xfrm>
            <a:off x="7026047" y="5093918"/>
            <a:ext cx="742187" cy="742187"/>
            <a:chOff x="-205105" y="-205105"/>
            <a:chExt cx="1019810" cy="101981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502F189-2F14-4EFE-96E7-020FDD8DB0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57D1798B-DB2F-4BE2-B218-A0EEAF713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22" name="CustomIcon">
            <a:extLst>
              <a:ext uri="{FF2B5EF4-FFF2-40B4-BE49-F238E27FC236}">
                <a16:creationId xmlns:a16="http://schemas.microsoft.com/office/drawing/2014/main" id="{A9E74F18-2CC0-4505-9755-659CF0A31402}"/>
              </a:ext>
            </a:extLst>
          </p:cNvPr>
          <p:cNvGrpSpPr>
            <a:grpSpLocks/>
          </p:cNvGrpSpPr>
          <p:nvPr>
            <p:custDataLst>
              <p:tags r:id="rId10"/>
            </p:custDataLst>
          </p:nvPr>
        </p:nvGrpSpPr>
        <p:grpSpPr>
          <a:xfrm>
            <a:off x="7026047" y="3168061"/>
            <a:ext cx="742187" cy="742187"/>
            <a:chOff x="-205105" y="-205105"/>
            <a:chExt cx="1019810" cy="101981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D0D999A-3771-4F22-99BD-403B5DA46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EB85A89C-5232-424D-9EFA-29A5109034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25" name="CustomIcon">
            <a:extLst>
              <a:ext uri="{FF2B5EF4-FFF2-40B4-BE49-F238E27FC236}">
                <a16:creationId xmlns:a16="http://schemas.microsoft.com/office/drawing/2014/main" id="{9AC6DB8F-9A29-4EEB-A118-F73F9D868547}"/>
              </a:ext>
            </a:extLst>
          </p:cNvPr>
          <p:cNvGrpSpPr>
            <a:grpSpLocks/>
          </p:cNvGrpSpPr>
          <p:nvPr>
            <p:custDataLst>
              <p:tags r:id="rId11"/>
            </p:custDataLst>
          </p:nvPr>
        </p:nvGrpSpPr>
        <p:grpSpPr>
          <a:xfrm>
            <a:off x="7026047" y="4134348"/>
            <a:ext cx="742187" cy="742187"/>
            <a:chOff x="-205105" y="-205105"/>
            <a:chExt cx="1019810" cy="101981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C7D8224-BD17-4641-BB2E-59374E28DAD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4757D4C7-F771-4D75-9CDE-17B5D10952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737009D3-80A6-4A94-A771-F4BB472A99D0}"/>
              </a:ext>
            </a:extLst>
          </p:cNvPr>
          <p:cNvSpPr txBox="1"/>
          <p:nvPr/>
        </p:nvSpPr>
        <p:spPr>
          <a:xfrm>
            <a:off x="7924840" y="3198132"/>
            <a:ext cx="3161172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Refining set of interventions </a:t>
            </a:r>
            <a:r>
              <a:rPr lang="en-US" sz="1500" dirty="0">
                <a:solidFill>
                  <a:schemeClr val="bg1">
                    <a:lumMod val="50000"/>
                  </a:schemeClr>
                </a:solidFill>
              </a:rPr>
              <a:t>adhering to  Humana’s preferences and current practic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FCFE298-F5AF-4A6F-8AFA-506F5CF4C050}"/>
              </a:ext>
            </a:extLst>
          </p:cNvPr>
          <p:cNvSpPr txBox="1"/>
          <p:nvPr/>
        </p:nvSpPr>
        <p:spPr>
          <a:xfrm>
            <a:off x="7924839" y="4142413"/>
            <a:ext cx="3091504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Refreshing model with most recent data </a:t>
            </a:r>
            <a:r>
              <a:rPr lang="en-US" sz="1500" dirty="0">
                <a:solidFill>
                  <a:schemeClr val="bg1">
                    <a:lumMod val="50000"/>
                  </a:schemeClr>
                </a:solidFill>
              </a:rPr>
              <a:t>(e.g., past Q1 21’) to continuously tailor strategy to the present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143AE32-8875-4772-BF3E-C4AD54096ABB}"/>
              </a:ext>
            </a:extLst>
          </p:cNvPr>
          <p:cNvSpPr txBox="1"/>
          <p:nvPr/>
        </p:nvSpPr>
        <p:spPr>
          <a:xfrm>
            <a:off x="7924839" y="5105487"/>
            <a:ext cx="3324000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Updating empirical evidence/ estimations </a:t>
            </a:r>
            <a:r>
              <a:rPr lang="en-US" sz="1500" dirty="0">
                <a:solidFill>
                  <a:schemeClr val="bg1">
                    <a:lumMod val="50000"/>
                  </a:schemeClr>
                </a:solidFill>
              </a:rPr>
              <a:t>on key data (e.g., hospitalization costs) to reflect the reality of Humana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25CC125-4D50-444B-80FF-52C34E4F8E89}"/>
              </a:ext>
            </a:extLst>
          </p:cNvPr>
          <p:cNvSpPr txBox="1">
            <a:spLocks/>
          </p:cNvSpPr>
          <p:nvPr/>
        </p:nvSpPr>
        <p:spPr>
          <a:xfrm>
            <a:off x="3620350" y="1644463"/>
            <a:ext cx="3040099" cy="42009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pPr marL="466725"/>
            <a:r>
              <a:rPr lang="en-US" sz="1800" b="1" dirty="0">
                <a:solidFill>
                  <a:srgbClr val="00593F"/>
                </a:solidFill>
              </a:rPr>
              <a:t>…that maximizes impact for Humana…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778BB53-CDDD-43C8-8367-40752E0CFFC0}"/>
              </a:ext>
            </a:extLst>
          </p:cNvPr>
          <p:cNvSpPr/>
          <p:nvPr/>
        </p:nvSpPr>
        <p:spPr>
          <a:xfrm>
            <a:off x="554341" y="1491885"/>
            <a:ext cx="6106105" cy="4576236"/>
          </a:xfrm>
          <a:prstGeom prst="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2898F27-273C-4221-913C-9F4EFEF46AB2}"/>
              </a:ext>
            </a:extLst>
          </p:cNvPr>
          <p:cNvSpPr/>
          <p:nvPr/>
        </p:nvSpPr>
        <p:spPr>
          <a:xfrm>
            <a:off x="6653492" y="1491885"/>
            <a:ext cx="4692675" cy="4576236"/>
          </a:xfrm>
          <a:prstGeom prst="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grpSp>
        <p:nvGrpSpPr>
          <p:cNvPr id="34" name="ChevronBlue 14">
            <a:extLst>
              <a:ext uri="{FF2B5EF4-FFF2-40B4-BE49-F238E27FC236}">
                <a16:creationId xmlns:a16="http://schemas.microsoft.com/office/drawing/2014/main" id="{0426B5E9-84F6-4AEF-A0E4-E4BF7A65CAB8}"/>
              </a:ext>
            </a:extLst>
          </p:cNvPr>
          <p:cNvGrpSpPr>
            <a:grpSpLocks/>
          </p:cNvGrpSpPr>
          <p:nvPr>
            <p:custDataLst>
              <p:tags r:id="rId12"/>
            </p:custDataLst>
          </p:nvPr>
        </p:nvGrpSpPr>
        <p:grpSpPr>
          <a:xfrm>
            <a:off x="6487913" y="3710235"/>
            <a:ext cx="319430" cy="319430"/>
            <a:chOff x="1016000" y="1016000"/>
            <a:chExt cx="396228" cy="396228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72DC0327-3571-4B13-B0E1-E000E1CDB57A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rgbClr val="00593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C3BF8190-61AC-429F-9B5F-261333FDF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75581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2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85811535"/>
              </p:ext>
            </p:extLst>
          </p:nvPr>
        </p:nvGraphicFramePr>
        <p:xfrm>
          <a:off x="1678" y="16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0" name="think-cell Slide" r:id="rId7" imgW="423" imgH="424" progId="TCLayout.ActiveDocument.1">
                  <p:embed/>
                </p:oleObj>
              </mc:Choice>
              <mc:Fallback>
                <p:oleObj name="think-cell Slide" r:id="rId7" imgW="423" imgH="424" progId="TCLayout.ActiveDocument.1">
                  <p:embed/>
                  <p:pic>
                    <p:nvPicPr>
                      <p:cNvPr id="18" name="Object 2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78" y="16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" y="51"/>
            <a:ext cx="158747" cy="158747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7C182CE-0BF2-40E1-A89A-A7F7DA5D7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282441"/>
            <a:ext cx="5372431" cy="1752600"/>
          </a:xfrm>
        </p:spPr>
        <p:txBody>
          <a:bodyPr vert="horz"/>
          <a:lstStyle/>
          <a:p>
            <a:r>
              <a:rPr lang="en-US" sz="2500" i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Arial"/>
              </a:rPr>
              <a:t>Thank you for giving us the opportunity to be a part of this experience and present our solution, we really enjoyed the ride!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16B8975-075E-4120-8C28-20EFBB43BE1D}"/>
              </a:ext>
            </a:extLst>
          </p:cNvPr>
          <p:cNvSpPr txBox="1">
            <a:spLocks/>
          </p:cNvSpPr>
          <p:nvPr/>
        </p:nvSpPr>
        <p:spPr>
          <a:xfrm>
            <a:off x="658633" y="594361"/>
            <a:ext cx="5372431" cy="1752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7200" b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Arial"/>
              </a:rPr>
              <a:t>Q&amp;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45DFA44-C59E-47A6-B28F-3ED6538BDF6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43207" y="111817"/>
            <a:ext cx="2132068" cy="819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133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1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uhuKk2ZEKebKphcUII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LpxnERcLdI4jYm.0hhb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KYv9eXHgpfu2jbfhjE0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JQecKHUWxlII5VxtU8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H7WiGkAe3q4HIqyRNIG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mmV1mYEzrmoZ_5ehYL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puJaZJlZs2gXUjfl37S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9TAGlk7hx2as5fa.OLj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qJWmSR3AUtBRaD1JqHq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N030pJRglH.deBdK0AN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SKNpcGibmKeSHZM36g.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.BA0GVLKPtnW6_7qHN5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Dtt0GyCB.3sD7JKc1a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o2BhnZleMOU7zeRMPr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A5AbPr0wf3cNwBxT7H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fIZ7pHCu88QHTae7aWt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6vq6saTH0XBxXdxpi_K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H.0XBCbHDvr_4bQAemQ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qZfPtUdH4RXSteBj7zF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wzs8uVg99ddg2h9pEZC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1GnEOvkQ2NI07soi1QX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Dhk09gX6jvmzZLADV_U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hWOZPNvp5UShUhzbu0O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RBhuCmCudGrm4n0hVD0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9t5ihH8cAORjm3xLAI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cNNvSKeMcd45gn.S4GT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5DRnoyir9_XZkVklIAl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o5opTgTkWWjKcQlNrmG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O7nm4BWiPhNoj5SIIBu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heme/theme1.xml><?xml version="1.0" encoding="utf-8"?>
<a:theme xmlns:a="http://schemas.openxmlformats.org/drawingml/2006/main" name="Tema de Offic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 SLIDES (primary colors)">
  <a:themeElements>
    <a:clrScheme name="HUMANA PRIMARY">
      <a:dk1>
        <a:srgbClr val="53575A"/>
      </a:dk1>
      <a:lt1>
        <a:srgbClr val="C8C8C8"/>
      </a:lt1>
      <a:dk2>
        <a:srgbClr val="002F57"/>
      </a:dk2>
      <a:lt2>
        <a:srgbClr val="FFFFFF"/>
      </a:lt2>
      <a:accent1>
        <a:srgbClr val="78BE20"/>
      </a:accent1>
      <a:accent2>
        <a:srgbClr val="497728"/>
      </a:accent2>
      <a:accent3>
        <a:srgbClr val="66BAC4"/>
      </a:accent3>
      <a:accent4>
        <a:srgbClr val="007480"/>
      </a:accent4>
      <a:accent5>
        <a:srgbClr val="612066"/>
      </a:accent5>
      <a:accent6>
        <a:srgbClr val="AE0061"/>
      </a:accent6>
      <a:hlink>
        <a:srgbClr val="78BD20"/>
      </a:hlink>
      <a:folHlink>
        <a:srgbClr val="78BD2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7092_Preso_cs_v8" id="{CB322130-4FBB-294E-86DE-4BA434154497}" vid="{1AB1DD42-080D-6E4A-9AF3-21FD6C879BA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cheme1">
    <a:dk1>
      <a:srgbClr val="000000"/>
    </a:dk1>
    <a:lt1>
      <a:srgbClr val="FFFFFF"/>
    </a:lt1>
    <a:dk2>
      <a:srgbClr val="FFFFFF"/>
    </a:dk2>
    <a:lt2>
      <a:srgbClr val="FFFFFF"/>
    </a:lt2>
    <a:accent1>
      <a:srgbClr val="051F5A"/>
    </a:accent1>
    <a:accent2>
      <a:srgbClr val="4A66AC"/>
    </a:accent2>
    <a:accent3>
      <a:srgbClr val="297FD5"/>
    </a:accent3>
    <a:accent4>
      <a:srgbClr val="71839F"/>
    </a:accent4>
    <a:accent5>
      <a:srgbClr val="5AA2AE"/>
    </a:accent5>
    <a:accent6>
      <a:srgbClr val="78697B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cheme1">
    <a:dk1>
      <a:srgbClr val="000000"/>
    </a:dk1>
    <a:lt1>
      <a:srgbClr val="FFFFFF"/>
    </a:lt1>
    <a:dk2>
      <a:srgbClr val="FFFFFF"/>
    </a:dk2>
    <a:lt2>
      <a:srgbClr val="FFFFFF"/>
    </a:lt2>
    <a:accent1>
      <a:srgbClr val="051F5A"/>
    </a:accent1>
    <a:accent2>
      <a:srgbClr val="4A66AC"/>
    </a:accent2>
    <a:accent3>
      <a:srgbClr val="297FD5"/>
    </a:accent3>
    <a:accent4>
      <a:srgbClr val="71839F"/>
    </a:accent4>
    <a:accent5>
      <a:srgbClr val="5AA2AE"/>
    </a:accent5>
    <a:accent6>
      <a:srgbClr val="78697B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73</TotalTime>
  <Words>850</Words>
  <Application>Microsoft Office PowerPoint</Application>
  <PresentationFormat>Widescreen</PresentationFormat>
  <Paragraphs>194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Calibri Light</vt:lpstr>
      <vt:lpstr>Georgia</vt:lpstr>
      <vt:lpstr>Segoe UI</vt:lpstr>
      <vt:lpstr>Tema de Office</vt:lpstr>
      <vt:lpstr>MASTER SLIDES (primary colors)</vt:lpstr>
      <vt:lpstr>think-cell Slide</vt:lpstr>
      <vt:lpstr>PowerPoint Presentation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  <vt:lpstr>Thank you for giving us the opportunity to be a part of this experience and present our solution, we really enjoyed the ride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Noemí Ruiz Sosa</dc:creator>
  <cp:lastModifiedBy>Alejandro Sáez</cp:lastModifiedBy>
  <cp:revision>75</cp:revision>
  <dcterms:created xsi:type="dcterms:W3CDTF">2021-11-04T11:17:24Z</dcterms:created>
  <dcterms:modified xsi:type="dcterms:W3CDTF">2021-11-27T04:41:45Z</dcterms:modified>
</cp:coreProperties>
</file>